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5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6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7.xml" ContentType="application/vnd.openxmlformats-officedocument.theme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8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9.xml" ContentType="application/vnd.openxmlformats-officedocument.theme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theme/theme11.xml" ContentType="application/vnd.openxmlformats-officedocument.theme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theme/theme13.xml" ContentType="application/vnd.openxmlformats-officedocument.theme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theme/theme14.xml" ContentType="application/vnd.openxmlformats-officedocument.theme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5.xml" ContentType="application/vnd.openxmlformats-officedocument.theme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theme/theme16.xml" ContentType="application/vnd.openxmlformats-officedocument.theme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7.xml" ContentType="application/vnd.openxmlformats-officedocument.theme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theme/theme18.xml" ContentType="application/vnd.openxmlformats-officedocument.theme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theme/theme19.xml" ContentType="application/vnd.openxmlformats-officedocument.theme+xml"/>
  <Override PartName="/ppt/tags/tag7.xml" ContentType="application/vnd.openxmlformats-officedocument.presentationml.tags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theme/theme20.xml" ContentType="application/vnd.openxmlformats-officedocument.theme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theme/theme21.xml" ContentType="application/vnd.openxmlformats-officedocument.theme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22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theme/theme23.xml" ContentType="application/vnd.openxmlformats-officedocument.theme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theme/theme2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theme/theme25.xml" ContentType="application/vnd.openxmlformats-officedocument.theme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theme/theme26.xml" ContentType="application/vnd.openxmlformats-officedocument.theme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17" r:id="rId2"/>
    <p:sldMasterId id="2147483764" r:id="rId3"/>
    <p:sldMasterId id="2147483825" r:id="rId4"/>
    <p:sldMasterId id="2147483885" r:id="rId5"/>
    <p:sldMasterId id="2147483936" r:id="rId6"/>
    <p:sldMasterId id="2147483985" r:id="rId7"/>
    <p:sldMasterId id="2147484039" r:id="rId8"/>
    <p:sldMasterId id="2147484128" r:id="rId9"/>
    <p:sldMasterId id="2147484215" r:id="rId10"/>
    <p:sldMasterId id="2147484264" r:id="rId11"/>
    <p:sldMasterId id="2147484357" r:id="rId12"/>
    <p:sldMasterId id="2147485165" r:id="rId13"/>
    <p:sldMasterId id="2147485213" r:id="rId14"/>
    <p:sldMasterId id="2147485275" r:id="rId15"/>
    <p:sldMasterId id="2147485323" r:id="rId16"/>
    <p:sldMasterId id="2147485370" r:id="rId17"/>
    <p:sldMasterId id="2147485420" r:id="rId18"/>
    <p:sldMasterId id="2147485508" r:id="rId19"/>
    <p:sldMasterId id="2147485569" r:id="rId20"/>
    <p:sldMasterId id="2147485663" r:id="rId21"/>
    <p:sldMasterId id="2147485712" r:id="rId22"/>
    <p:sldMasterId id="2147485764" r:id="rId23"/>
    <p:sldMasterId id="2147485818" r:id="rId24"/>
    <p:sldMasterId id="2147485865" r:id="rId25"/>
    <p:sldMasterId id="2147485914" r:id="rId26"/>
    <p:sldMasterId id="2147485963" r:id="rId27"/>
  </p:sldMasterIdLst>
  <p:notesMasterIdLst>
    <p:notesMasterId r:id="rId46"/>
  </p:notesMasterIdLst>
  <p:sldIdLst>
    <p:sldId id="2147482378" r:id="rId28"/>
    <p:sldId id="2147479311" r:id="rId29"/>
    <p:sldId id="2147481193" r:id="rId30"/>
    <p:sldId id="2147481215" r:id="rId31"/>
    <p:sldId id="536" r:id="rId32"/>
    <p:sldId id="2147374632" r:id="rId33"/>
    <p:sldId id="2147473102" r:id="rId34"/>
    <p:sldId id="2147481713" r:id="rId35"/>
    <p:sldId id="263" r:id="rId36"/>
    <p:sldId id="2147482281" r:id="rId37"/>
    <p:sldId id="2147482402" r:id="rId38"/>
    <p:sldId id="2147482363" r:id="rId39"/>
    <p:sldId id="2142533001" r:id="rId40"/>
    <p:sldId id="268" r:id="rId41"/>
    <p:sldId id="2147482292" r:id="rId42"/>
    <p:sldId id="2147482405" r:id="rId43"/>
    <p:sldId id="256" r:id="rId44"/>
    <p:sldId id="2147482404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970D1B8-3A37-754E-8F40-CA166036E629}">
          <p14:sldIdLst/>
        </p14:section>
        <p14:section name="Template slides" id="{4700659D-582D-3B47-8AF6-59C9324AA29A}">
          <p14:sldIdLst>
            <p14:sldId id="2147482378"/>
            <p14:sldId id="2147479311"/>
            <p14:sldId id="2147481193"/>
            <p14:sldId id="2147481215"/>
            <p14:sldId id="536"/>
            <p14:sldId id="2147374632"/>
            <p14:sldId id="2147473102"/>
            <p14:sldId id="2147481713"/>
            <p14:sldId id="263"/>
            <p14:sldId id="2147482281"/>
            <p14:sldId id="2147482402"/>
            <p14:sldId id="2147482363"/>
            <p14:sldId id="2142533001"/>
            <p14:sldId id="268"/>
            <p14:sldId id="2147482292"/>
            <p14:sldId id="2147482405"/>
            <p14:sldId id="256"/>
            <p14:sldId id="214748240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AC"/>
    <a:srgbClr val="008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3B450E-3814-48DC-A50C-A4174EDA1C55}" v="30" dt="2024-03-03T19:41:59.5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50"/>
    <p:restoredTop sz="81701"/>
  </p:normalViewPr>
  <p:slideViewPr>
    <p:cSldViewPr snapToGrid="0">
      <p:cViewPr varScale="1">
        <p:scale>
          <a:sx n="102" d="100"/>
          <a:sy n="102" d="100"/>
        </p:scale>
        <p:origin x="216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2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2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4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slide" Target="slides/slide16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E106B6-16D0-1748-B7BA-F0B567660126}" type="doc">
      <dgm:prSet loTypeId="urn:microsoft.com/office/officeart/2008/layout/VerticalCurvedList" loCatId="" qsTypeId="urn:microsoft.com/office/officeart/2005/8/quickstyle/simple3" qsCatId="simple" csTypeId="urn:microsoft.com/office/officeart/2005/8/colors/accent0_3" csCatId="mainScheme" phldr="1"/>
      <dgm:spPr/>
    </dgm:pt>
    <dgm:pt modelId="{601B4202-4E9A-4446-AD6F-D9CCC96C7259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Provide Context</a:t>
          </a:r>
          <a:endParaRPr lang="en-GB" dirty="0">
            <a:solidFill>
              <a:schemeClr val="tx1"/>
            </a:solidFill>
          </a:endParaRPr>
        </a:p>
      </dgm:t>
    </dgm:pt>
    <dgm:pt modelId="{046262CD-2487-B849-B55D-00711DC9697D}" type="parTrans" cxnId="{58B960AB-8D59-724F-A245-1EB0317AABA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C5FD432-70E3-7740-8671-262F9497B6EC}" type="sibTrans" cxnId="{58B960AB-8D59-724F-A245-1EB0317AABA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9045A3F-B6EA-A246-872D-572EB7AB1581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Be Specific</a:t>
          </a:r>
          <a:endParaRPr lang="en-GB" dirty="0">
            <a:solidFill>
              <a:schemeClr val="tx1"/>
            </a:solidFill>
          </a:endParaRPr>
        </a:p>
      </dgm:t>
    </dgm:pt>
    <dgm:pt modelId="{21F84E46-2E12-CC49-A8AE-69463601F598}" type="parTrans" cxnId="{B89CE018-97AC-A34B-BB84-DE98D8F3ED3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3B11495-EACB-7A47-B332-FBE2B3F13953}" type="sibTrans" cxnId="{B89CE018-97AC-A34B-BB84-DE98D8F3ED3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D4C4B358-9003-C24C-BBBB-699EDBD911F6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Define Intent &amp; Output</a:t>
          </a:r>
          <a:endParaRPr lang="en-GB" dirty="0">
            <a:solidFill>
              <a:schemeClr val="tx1"/>
            </a:solidFill>
          </a:endParaRPr>
        </a:p>
      </dgm:t>
    </dgm:pt>
    <dgm:pt modelId="{C80F9356-C8FC-2B4D-95DE-ACA864D1E5E7}" type="parTrans" cxnId="{36F70CE5-A703-BE4F-9A44-C86C66512E7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B112B50-32CD-414F-AB5A-7C3667ECC63F}" type="sibTrans" cxnId="{36F70CE5-A703-BE4F-9A44-C86C66512E7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02576AC-628B-534C-8DA3-C5677DDFA806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Give Examples</a:t>
          </a:r>
          <a:endParaRPr lang="en-GB" dirty="0">
            <a:solidFill>
              <a:schemeClr val="tx1"/>
            </a:solidFill>
          </a:endParaRPr>
        </a:p>
      </dgm:t>
    </dgm:pt>
    <dgm:pt modelId="{BED550FC-60D0-4F48-8477-06FACC74A83B}" type="parTrans" cxnId="{8E2312CA-7CCE-3B4F-BA93-7EB7FEB95A7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5479D0D-27EC-EC47-B467-A03CA20888B4}" type="sibTrans" cxnId="{8E2312CA-7CCE-3B4F-BA93-7EB7FEB95A7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DD6383B3-27AD-BB40-8DD8-AB54D45250B4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Positive &amp; Negative Instructions</a:t>
          </a:r>
          <a:endParaRPr lang="en-GB" dirty="0">
            <a:solidFill>
              <a:schemeClr val="tx1"/>
            </a:solidFill>
          </a:endParaRPr>
        </a:p>
      </dgm:t>
    </dgm:pt>
    <dgm:pt modelId="{DAE81214-FCE4-F746-B56A-F4CD0D74F6ED}" type="parTrans" cxnId="{DD71885A-01C8-F443-85C2-6D0C8813420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C850042E-60A9-9A41-B2FC-D099E2C098FC}" type="sibTrans" cxnId="{DD71885A-01C8-F443-85C2-6D0C8813420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491C467-9895-F844-81D7-99948BE29E45}">
      <dgm:prSet phldrT="[Text]"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Try Chain of Thought - </a:t>
          </a:r>
          <a:r>
            <a:rPr lang="en-IN" b="0" i="0" u="none" dirty="0">
              <a:solidFill>
                <a:schemeClr val="tx1"/>
              </a:solidFill>
            </a:rPr>
            <a:t>break down a complex “thought”</a:t>
          </a:r>
          <a:endParaRPr lang="en-GB" dirty="0">
            <a:solidFill>
              <a:schemeClr val="tx1"/>
            </a:solidFill>
          </a:endParaRPr>
        </a:p>
      </dgm:t>
    </dgm:pt>
    <dgm:pt modelId="{3A798E51-8A9A-AB41-9128-B260CE48DFFA}" type="parTrans" cxnId="{2FB24616-71E3-CF4F-930D-F6B29356373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A26D73A-5A39-9644-B3F3-3AF6B93F5850}" type="sibTrans" cxnId="{2FB24616-71E3-CF4F-930D-F6B29356373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2FA71FE4-A89C-614E-95F5-78F3EC3DDC9D}">
      <dgm:prSet phldrT="[Text]"/>
      <dgm:spPr/>
      <dgm:t>
        <a:bodyPr/>
        <a:lstStyle/>
        <a:p>
          <a:r>
            <a:rPr lang="en-GB">
              <a:solidFill>
                <a:schemeClr val="tx1"/>
              </a:solidFill>
            </a:rPr>
            <a:t>Adjust Parameters</a:t>
          </a:r>
          <a:endParaRPr lang="en-GB" dirty="0">
            <a:solidFill>
              <a:schemeClr val="tx1"/>
            </a:solidFill>
          </a:endParaRPr>
        </a:p>
      </dgm:t>
    </dgm:pt>
    <dgm:pt modelId="{FBC88F55-E208-7D46-82CE-DAC2FF81B766}" type="parTrans" cxnId="{2F24A5F7-C523-E04E-9A11-659552234B7B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DD9EBE2-BC5C-6E4B-BA94-DF81F50FC425}" type="sibTrans" cxnId="{2F24A5F7-C523-E04E-9A11-659552234B7B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BC414E4-87B3-5D4F-A0BC-A88DEAD89A77}">
      <dgm:prSet phldrT="[Text]"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8E52235-93B0-3B4D-B099-CBAF448E0FA9}" type="parTrans" cxnId="{508D83FD-49C3-3648-8B50-1CCEF2D1243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08A1960-0155-0B4B-8F61-24FAFEDEB92D}" type="sibTrans" cxnId="{508D83FD-49C3-3648-8B50-1CCEF2D1243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C67B185C-4315-3C49-8382-3B56802562AD}">
      <dgm:prSet phldrT="[Text]"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A694080-5636-DF40-8966-FF3BAE498377}" type="parTrans" cxnId="{CE6BE2B6-F592-8942-85B8-54B384DD4EB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874F097-8E2A-FE49-963C-D5A7F0FDEC3E}" type="sibTrans" cxnId="{CE6BE2B6-F592-8942-85B8-54B384DD4EB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8B739056-B9A9-E042-BF07-11F67EE40D51}" type="pres">
      <dgm:prSet presAssocID="{E8E106B6-16D0-1748-B7BA-F0B567660126}" presName="Name0" presStyleCnt="0">
        <dgm:presLayoutVars>
          <dgm:chMax val="7"/>
          <dgm:chPref val="7"/>
          <dgm:dir/>
        </dgm:presLayoutVars>
      </dgm:prSet>
      <dgm:spPr/>
    </dgm:pt>
    <dgm:pt modelId="{01C59A43-7E22-004A-8B91-4B19DDB69B05}" type="pres">
      <dgm:prSet presAssocID="{E8E106B6-16D0-1748-B7BA-F0B567660126}" presName="Name1" presStyleCnt="0"/>
      <dgm:spPr/>
    </dgm:pt>
    <dgm:pt modelId="{03BDDFF0-3742-744C-AEC9-CB4E444209B4}" type="pres">
      <dgm:prSet presAssocID="{E8E106B6-16D0-1748-B7BA-F0B567660126}" presName="cycle" presStyleCnt="0"/>
      <dgm:spPr/>
    </dgm:pt>
    <dgm:pt modelId="{8E3FD3B6-21DD-4745-B618-E84E8DB42ADA}" type="pres">
      <dgm:prSet presAssocID="{E8E106B6-16D0-1748-B7BA-F0B567660126}" presName="srcNode" presStyleLbl="node1" presStyleIdx="0" presStyleCnt="7"/>
      <dgm:spPr/>
    </dgm:pt>
    <dgm:pt modelId="{46CA7FEF-0C7F-A247-8690-D8D551D17481}" type="pres">
      <dgm:prSet presAssocID="{E8E106B6-16D0-1748-B7BA-F0B567660126}" presName="conn" presStyleLbl="parChTrans1D2" presStyleIdx="0" presStyleCnt="1"/>
      <dgm:spPr/>
    </dgm:pt>
    <dgm:pt modelId="{62E4D235-0717-054D-890D-4A24831A9504}" type="pres">
      <dgm:prSet presAssocID="{E8E106B6-16D0-1748-B7BA-F0B567660126}" presName="extraNode" presStyleLbl="node1" presStyleIdx="0" presStyleCnt="7"/>
      <dgm:spPr/>
    </dgm:pt>
    <dgm:pt modelId="{1DD60F92-5130-1B49-9206-A4F93C517F85}" type="pres">
      <dgm:prSet presAssocID="{E8E106B6-16D0-1748-B7BA-F0B567660126}" presName="dstNode" presStyleLbl="node1" presStyleIdx="0" presStyleCnt="7"/>
      <dgm:spPr/>
    </dgm:pt>
    <dgm:pt modelId="{A24C7622-208B-6C47-B2B2-38538C5FDAC0}" type="pres">
      <dgm:prSet presAssocID="{601B4202-4E9A-4446-AD6F-D9CCC96C7259}" presName="text_1" presStyleLbl="node1" presStyleIdx="0" presStyleCnt="7">
        <dgm:presLayoutVars>
          <dgm:bulletEnabled val="1"/>
        </dgm:presLayoutVars>
      </dgm:prSet>
      <dgm:spPr/>
    </dgm:pt>
    <dgm:pt modelId="{7FA37621-37ED-0A44-9551-50F33A46EA2D}" type="pres">
      <dgm:prSet presAssocID="{601B4202-4E9A-4446-AD6F-D9CCC96C7259}" presName="accent_1" presStyleCnt="0"/>
      <dgm:spPr/>
    </dgm:pt>
    <dgm:pt modelId="{16509569-C659-CD46-82BC-58B4CDC642DB}" type="pres">
      <dgm:prSet presAssocID="{601B4202-4E9A-4446-AD6F-D9CCC96C7259}" presName="accentRepeatNode" presStyleLbl="solidFgAcc1" presStyleIdx="0" presStyleCnt="7"/>
      <dgm:spPr/>
    </dgm:pt>
    <dgm:pt modelId="{63E3B80A-97B5-E542-9278-157185DEF3A1}" type="pres">
      <dgm:prSet presAssocID="{09045A3F-B6EA-A246-872D-572EB7AB1581}" presName="text_2" presStyleLbl="node1" presStyleIdx="1" presStyleCnt="7">
        <dgm:presLayoutVars>
          <dgm:bulletEnabled val="1"/>
        </dgm:presLayoutVars>
      </dgm:prSet>
      <dgm:spPr/>
    </dgm:pt>
    <dgm:pt modelId="{5D192094-BB7F-D346-ACEF-5B722C79C215}" type="pres">
      <dgm:prSet presAssocID="{09045A3F-B6EA-A246-872D-572EB7AB1581}" presName="accent_2" presStyleCnt="0"/>
      <dgm:spPr/>
    </dgm:pt>
    <dgm:pt modelId="{9F7BD42D-E551-C940-AAB7-3F110874AB9F}" type="pres">
      <dgm:prSet presAssocID="{09045A3F-B6EA-A246-872D-572EB7AB1581}" presName="accentRepeatNode" presStyleLbl="solidFgAcc1" presStyleIdx="1" presStyleCnt="7"/>
      <dgm:spPr/>
    </dgm:pt>
    <dgm:pt modelId="{E7D103E1-65E5-CC4C-8133-7535B5F32C04}" type="pres">
      <dgm:prSet presAssocID="{D4C4B358-9003-C24C-BBBB-699EDBD911F6}" presName="text_3" presStyleLbl="node1" presStyleIdx="2" presStyleCnt="7">
        <dgm:presLayoutVars>
          <dgm:bulletEnabled val="1"/>
        </dgm:presLayoutVars>
      </dgm:prSet>
      <dgm:spPr/>
    </dgm:pt>
    <dgm:pt modelId="{D9DC450F-9556-C846-856A-839BE4F2FC09}" type="pres">
      <dgm:prSet presAssocID="{D4C4B358-9003-C24C-BBBB-699EDBD911F6}" presName="accent_3" presStyleCnt="0"/>
      <dgm:spPr/>
    </dgm:pt>
    <dgm:pt modelId="{EC1EFF22-D8C2-3C4D-AAA2-69FBF624BD7F}" type="pres">
      <dgm:prSet presAssocID="{D4C4B358-9003-C24C-BBBB-699EDBD911F6}" presName="accentRepeatNode" presStyleLbl="solidFgAcc1" presStyleIdx="2" presStyleCnt="7"/>
      <dgm:spPr/>
    </dgm:pt>
    <dgm:pt modelId="{7F799ECD-9C9D-6A40-AC24-0D114F26A6DF}" type="pres">
      <dgm:prSet presAssocID="{A02576AC-628B-534C-8DA3-C5677DDFA806}" presName="text_4" presStyleLbl="node1" presStyleIdx="3" presStyleCnt="7">
        <dgm:presLayoutVars>
          <dgm:bulletEnabled val="1"/>
        </dgm:presLayoutVars>
      </dgm:prSet>
      <dgm:spPr/>
    </dgm:pt>
    <dgm:pt modelId="{70D981C7-8906-AD4F-8DC8-56F8EED8356D}" type="pres">
      <dgm:prSet presAssocID="{A02576AC-628B-534C-8DA3-C5677DDFA806}" presName="accent_4" presStyleCnt="0"/>
      <dgm:spPr/>
    </dgm:pt>
    <dgm:pt modelId="{3EACBDED-190B-3D42-A9DF-A17B2995E653}" type="pres">
      <dgm:prSet presAssocID="{A02576AC-628B-534C-8DA3-C5677DDFA806}" presName="accentRepeatNode" presStyleLbl="solidFgAcc1" presStyleIdx="3" presStyleCnt="7"/>
      <dgm:spPr/>
    </dgm:pt>
    <dgm:pt modelId="{C10E197E-F204-7241-8436-A37FDA61BDF1}" type="pres">
      <dgm:prSet presAssocID="{DD6383B3-27AD-BB40-8DD8-AB54D45250B4}" presName="text_5" presStyleLbl="node1" presStyleIdx="4" presStyleCnt="7">
        <dgm:presLayoutVars>
          <dgm:bulletEnabled val="1"/>
        </dgm:presLayoutVars>
      </dgm:prSet>
      <dgm:spPr/>
    </dgm:pt>
    <dgm:pt modelId="{6E484A30-6D55-3840-9884-E18EBEAA57AD}" type="pres">
      <dgm:prSet presAssocID="{DD6383B3-27AD-BB40-8DD8-AB54D45250B4}" presName="accent_5" presStyleCnt="0"/>
      <dgm:spPr/>
    </dgm:pt>
    <dgm:pt modelId="{CB5DCE45-B375-5E4C-9174-8602A04750BC}" type="pres">
      <dgm:prSet presAssocID="{DD6383B3-27AD-BB40-8DD8-AB54D45250B4}" presName="accentRepeatNode" presStyleLbl="solidFgAcc1" presStyleIdx="4" presStyleCnt="7"/>
      <dgm:spPr/>
    </dgm:pt>
    <dgm:pt modelId="{824DB7E9-FC62-D849-A37E-E6B5B220745D}" type="pres">
      <dgm:prSet presAssocID="{E491C467-9895-F844-81D7-99948BE29E45}" presName="text_6" presStyleLbl="node1" presStyleIdx="5" presStyleCnt="7">
        <dgm:presLayoutVars>
          <dgm:bulletEnabled val="1"/>
        </dgm:presLayoutVars>
      </dgm:prSet>
      <dgm:spPr/>
    </dgm:pt>
    <dgm:pt modelId="{95A2D62C-44B9-CF4B-975E-1BC8C7DD8D40}" type="pres">
      <dgm:prSet presAssocID="{E491C467-9895-F844-81D7-99948BE29E45}" presName="accent_6" presStyleCnt="0"/>
      <dgm:spPr/>
    </dgm:pt>
    <dgm:pt modelId="{58C0A725-30A9-9E41-91E9-DAC2042BA2A3}" type="pres">
      <dgm:prSet presAssocID="{E491C467-9895-F844-81D7-99948BE29E45}" presName="accentRepeatNode" presStyleLbl="solidFgAcc1" presStyleIdx="5" presStyleCnt="7"/>
      <dgm:spPr/>
    </dgm:pt>
    <dgm:pt modelId="{5FD3E676-370E-954E-9AC1-A648970DABFE}" type="pres">
      <dgm:prSet presAssocID="{2FA71FE4-A89C-614E-95F5-78F3EC3DDC9D}" presName="text_7" presStyleLbl="node1" presStyleIdx="6" presStyleCnt="7">
        <dgm:presLayoutVars>
          <dgm:bulletEnabled val="1"/>
        </dgm:presLayoutVars>
      </dgm:prSet>
      <dgm:spPr/>
    </dgm:pt>
    <dgm:pt modelId="{91502B48-2558-1841-B26E-F6DDFBAAEC76}" type="pres">
      <dgm:prSet presAssocID="{2FA71FE4-A89C-614E-95F5-78F3EC3DDC9D}" presName="accent_7" presStyleCnt="0"/>
      <dgm:spPr/>
    </dgm:pt>
    <dgm:pt modelId="{C2E93DBA-339D-0F43-BC8D-FABA586A19FB}" type="pres">
      <dgm:prSet presAssocID="{2FA71FE4-A89C-614E-95F5-78F3EC3DDC9D}" presName="accentRepeatNode" presStyleLbl="solidFgAcc1" presStyleIdx="6" presStyleCnt="7"/>
      <dgm:spPr/>
    </dgm:pt>
  </dgm:ptLst>
  <dgm:cxnLst>
    <dgm:cxn modelId="{2FB24616-71E3-CF4F-930D-F6B293563739}" srcId="{E8E106B6-16D0-1748-B7BA-F0B567660126}" destId="{E491C467-9895-F844-81D7-99948BE29E45}" srcOrd="5" destOrd="0" parTransId="{3A798E51-8A9A-AB41-9128-B260CE48DFFA}" sibTransId="{EA26D73A-5A39-9644-B3F3-3AF6B93F5850}"/>
    <dgm:cxn modelId="{B89CE018-97AC-A34B-BB84-DE98D8F3ED38}" srcId="{E8E106B6-16D0-1748-B7BA-F0B567660126}" destId="{09045A3F-B6EA-A246-872D-572EB7AB1581}" srcOrd="1" destOrd="0" parTransId="{21F84E46-2E12-CC49-A8AE-69463601F598}" sibTransId="{43B11495-EACB-7A47-B332-FBE2B3F13953}"/>
    <dgm:cxn modelId="{DDA79E27-1267-1648-8BC3-74678C988D24}" type="presOf" srcId="{A02576AC-628B-534C-8DA3-C5677DDFA806}" destId="{7F799ECD-9C9D-6A40-AC24-0D114F26A6DF}" srcOrd="0" destOrd="0" presId="urn:microsoft.com/office/officeart/2008/layout/VerticalCurvedList"/>
    <dgm:cxn modelId="{3190BB42-97EE-BF4A-A726-D96918057542}" type="presOf" srcId="{AC5FD432-70E3-7740-8671-262F9497B6EC}" destId="{46CA7FEF-0C7F-A247-8690-D8D551D17481}" srcOrd="0" destOrd="0" presId="urn:microsoft.com/office/officeart/2008/layout/VerticalCurvedList"/>
    <dgm:cxn modelId="{DD71885A-01C8-F443-85C2-6D0C88134209}" srcId="{E8E106B6-16D0-1748-B7BA-F0B567660126}" destId="{DD6383B3-27AD-BB40-8DD8-AB54D45250B4}" srcOrd="4" destOrd="0" parTransId="{DAE81214-FCE4-F746-B56A-F4CD0D74F6ED}" sibTransId="{C850042E-60A9-9A41-B2FC-D099E2C098FC}"/>
    <dgm:cxn modelId="{02B00563-7B80-E24A-A032-FC09BC0DA139}" type="presOf" srcId="{DD6383B3-27AD-BB40-8DD8-AB54D45250B4}" destId="{C10E197E-F204-7241-8436-A37FDA61BDF1}" srcOrd="0" destOrd="0" presId="urn:microsoft.com/office/officeart/2008/layout/VerticalCurvedList"/>
    <dgm:cxn modelId="{DB2F6764-45A3-EB49-9118-5A3CBD65505C}" type="presOf" srcId="{09045A3F-B6EA-A246-872D-572EB7AB1581}" destId="{63E3B80A-97B5-E542-9278-157185DEF3A1}" srcOrd="0" destOrd="0" presId="urn:microsoft.com/office/officeart/2008/layout/VerticalCurvedList"/>
    <dgm:cxn modelId="{A060B97C-EDF7-5C4D-9E82-B17828CB8D7D}" type="presOf" srcId="{E8E106B6-16D0-1748-B7BA-F0B567660126}" destId="{8B739056-B9A9-E042-BF07-11F67EE40D51}" srcOrd="0" destOrd="0" presId="urn:microsoft.com/office/officeart/2008/layout/VerticalCurvedList"/>
    <dgm:cxn modelId="{A2DB0586-C6BF-9344-914D-20A75E9CE69E}" type="presOf" srcId="{E491C467-9895-F844-81D7-99948BE29E45}" destId="{824DB7E9-FC62-D849-A37E-E6B5B220745D}" srcOrd="0" destOrd="0" presId="urn:microsoft.com/office/officeart/2008/layout/VerticalCurvedList"/>
    <dgm:cxn modelId="{58B960AB-8D59-724F-A245-1EB0317AABA8}" srcId="{E8E106B6-16D0-1748-B7BA-F0B567660126}" destId="{601B4202-4E9A-4446-AD6F-D9CCC96C7259}" srcOrd="0" destOrd="0" parTransId="{046262CD-2487-B849-B55D-00711DC9697D}" sibTransId="{AC5FD432-70E3-7740-8671-262F9497B6EC}"/>
    <dgm:cxn modelId="{CE6BE2B6-F592-8942-85B8-54B384DD4EB9}" srcId="{E8E106B6-16D0-1748-B7BA-F0B567660126}" destId="{C67B185C-4315-3C49-8382-3B56802562AD}" srcOrd="8" destOrd="0" parTransId="{EA694080-5636-DF40-8966-FF3BAE498377}" sibTransId="{0874F097-8E2A-FE49-963C-D5A7F0FDEC3E}"/>
    <dgm:cxn modelId="{3101BAC5-51FE-AE43-8E29-5CC8F1FBA213}" type="presOf" srcId="{2FA71FE4-A89C-614E-95F5-78F3EC3DDC9D}" destId="{5FD3E676-370E-954E-9AC1-A648970DABFE}" srcOrd="0" destOrd="0" presId="urn:microsoft.com/office/officeart/2008/layout/VerticalCurvedList"/>
    <dgm:cxn modelId="{8E2312CA-7CCE-3B4F-BA93-7EB7FEB95A7A}" srcId="{E8E106B6-16D0-1748-B7BA-F0B567660126}" destId="{A02576AC-628B-534C-8DA3-C5677DDFA806}" srcOrd="3" destOrd="0" parTransId="{BED550FC-60D0-4F48-8477-06FACC74A83B}" sibTransId="{E5479D0D-27EC-EC47-B467-A03CA20888B4}"/>
    <dgm:cxn modelId="{36F962D4-442A-CF40-80C8-117AB35BE276}" type="presOf" srcId="{601B4202-4E9A-4446-AD6F-D9CCC96C7259}" destId="{A24C7622-208B-6C47-B2B2-38538C5FDAC0}" srcOrd="0" destOrd="0" presId="urn:microsoft.com/office/officeart/2008/layout/VerticalCurvedList"/>
    <dgm:cxn modelId="{36F70CE5-A703-BE4F-9A44-C86C66512E7F}" srcId="{E8E106B6-16D0-1748-B7BA-F0B567660126}" destId="{D4C4B358-9003-C24C-BBBB-699EDBD911F6}" srcOrd="2" destOrd="0" parTransId="{C80F9356-C8FC-2B4D-95DE-ACA864D1E5E7}" sibTransId="{BB112B50-32CD-414F-AB5A-7C3667ECC63F}"/>
    <dgm:cxn modelId="{47DBA8EB-EFDE-4744-A19B-F80BB4495570}" type="presOf" srcId="{D4C4B358-9003-C24C-BBBB-699EDBD911F6}" destId="{E7D103E1-65E5-CC4C-8133-7535B5F32C04}" srcOrd="0" destOrd="0" presId="urn:microsoft.com/office/officeart/2008/layout/VerticalCurvedList"/>
    <dgm:cxn modelId="{2F24A5F7-C523-E04E-9A11-659552234B7B}" srcId="{E8E106B6-16D0-1748-B7BA-F0B567660126}" destId="{2FA71FE4-A89C-614E-95F5-78F3EC3DDC9D}" srcOrd="6" destOrd="0" parTransId="{FBC88F55-E208-7D46-82CE-DAC2FF81B766}" sibTransId="{9DD9EBE2-BC5C-6E4B-BA94-DF81F50FC425}"/>
    <dgm:cxn modelId="{508D83FD-49C3-3648-8B50-1CCEF2D1243C}" srcId="{E8E106B6-16D0-1748-B7BA-F0B567660126}" destId="{0BC414E4-87B3-5D4F-A0BC-A88DEAD89A77}" srcOrd="7" destOrd="0" parTransId="{18E52235-93B0-3B4D-B099-CBAF448E0FA9}" sibTransId="{908A1960-0155-0B4B-8F61-24FAFEDEB92D}"/>
    <dgm:cxn modelId="{8CF71D41-0019-D04D-A42C-0F528F449A38}" type="presParOf" srcId="{8B739056-B9A9-E042-BF07-11F67EE40D51}" destId="{01C59A43-7E22-004A-8B91-4B19DDB69B05}" srcOrd="0" destOrd="0" presId="urn:microsoft.com/office/officeart/2008/layout/VerticalCurvedList"/>
    <dgm:cxn modelId="{BA94E782-A671-2042-983D-F03426C0A30A}" type="presParOf" srcId="{01C59A43-7E22-004A-8B91-4B19DDB69B05}" destId="{03BDDFF0-3742-744C-AEC9-CB4E444209B4}" srcOrd="0" destOrd="0" presId="urn:microsoft.com/office/officeart/2008/layout/VerticalCurvedList"/>
    <dgm:cxn modelId="{CEECCBFC-0C40-3F4E-A78E-A5FA105ABB07}" type="presParOf" srcId="{03BDDFF0-3742-744C-AEC9-CB4E444209B4}" destId="{8E3FD3B6-21DD-4745-B618-E84E8DB42ADA}" srcOrd="0" destOrd="0" presId="urn:microsoft.com/office/officeart/2008/layout/VerticalCurvedList"/>
    <dgm:cxn modelId="{40954D36-A017-1B45-9272-4EC799CCA64E}" type="presParOf" srcId="{03BDDFF0-3742-744C-AEC9-CB4E444209B4}" destId="{46CA7FEF-0C7F-A247-8690-D8D551D17481}" srcOrd="1" destOrd="0" presId="urn:microsoft.com/office/officeart/2008/layout/VerticalCurvedList"/>
    <dgm:cxn modelId="{0FFE4425-A491-644A-A4A9-247EE2135BC4}" type="presParOf" srcId="{03BDDFF0-3742-744C-AEC9-CB4E444209B4}" destId="{62E4D235-0717-054D-890D-4A24831A9504}" srcOrd="2" destOrd="0" presId="urn:microsoft.com/office/officeart/2008/layout/VerticalCurvedList"/>
    <dgm:cxn modelId="{79CC5645-6AE4-024F-A9AB-2F21A95E591D}" type="presParOf" srcId="{03BDDFF0-3742-744C-AEC9-CB4E444209B4}" destId="{1DD60F92-5130-1B49-9206-A4F93C517F85}" srcOrd="3" destOrd="0" presId="urn:microsoft.com/office/officeart/2008/layout/VerticalCurvedList"/>
    <dgm:cxn modelId="{A449EC89-DD94-9245-868B-E018A412958F}" type="presParOf" srcId="{01C59A43-7E22-004A-8B91-4B19DDB69B05}" destId="{A24C7622-208B-6C47-B2B2-38538C5FDAC0}" srcOrd="1" destOrd="0" presId="urn:microsoft.com/office/officeart/2008/layout/VerticalCurvedList"/>
    <dgm:cxn modelId="{8BF83FAF-0F76-2547-8D84-82916AA73996}" type="presParOf" srcId="{01C59A43-7E22-004A-8B91-4B19DDB69B05}" destId="{7FA37621-37ED-0A44-9551-50F33A46EA2D}" srcOrd="2" destOrd="0" presId="urn:microsoft.com/office/officeart/2008/layout/VerticalCurvedList"/>
    <dgm:cxn modelId="{D99F46B8-480D-934F-90AD-BAF2941894A9}" type="presParOf" srcId="{7FA37621-37ED-0A44-9551-50F33A46EA2D}" destId="{16509569-C659-CD46-82BC-58B4CDC642DB}" srcOrd="0" destOrd="0" presId="urn:microsoft.com/office/officeart/2008/layout/VerticalCurvedList"/>
    <dgm:cxn modelId="{DE2E8F7A-5D87-D549-914B-CAF2E743AB34}" type="presParOf" srcId="{01C59A43-7E22-004A-8B91-4B19DDB69B05}" destId="{63E3B80A-97B5-E542-9278-157185DEF3A1}" srcOrd="3" destOrd="0" presId="urn:microsoft.com/office/officeart/2008/layout/VerticalCurvedList"/>
    <dgm:cxn modelId="{F0C28431-AB2F-3446-BC8B-D8B448DB9841}" type="presParOf" srcId="{01C59A43-7E22-004A-8B91-4B19DDB69B05}" destId="{5D192094-BB7F-D346-ACEF-5B722C79C215}" srcOrd="4" destOrd="0" presId="urn:microsoft.com/office/officeart/2008/layout/VerticalCurvedList"/>
    <dgm:cxn modelId="{E2A7B31F-CDEC-C14F-9E2F-A60D58715302}" type="presParOf" srcId="{5D192094-BB7F-D346-ACEF-5B722C79C215}" destId="{9F7BD42D-E551-C940-AAB7-3F110874AB9F}" srcOrd="0" destOrd="0" presId="urn:microsoft.com/office/officeart/2008/layout/VerticalCurvedList"/>
    <dgm:cxn modelId="{8A5A90CC-795A-934D-BAFB-3234711E6BDC}" type="presParOf" srcId="{01C59A43-7E22-004A-8B91-4B19DDB69B05}" destId="{E7D103E1-65E5-CC4C-8133-7535B5F32C04}" srcOrd="5" destOrd="0" presId="urn:microsoft.com/office/officeart/2008/layout/VerticalCurvedList"/>
    <dgm:cxn modelId="{1EEE82E3-BC8E-E84A-B11F-3DE903FA9757}" type="presParOf" srcId="{01C59A43-7E22-004A-8B91-4B19DDB69B05}" destId="{D9DC450F-9556-C846-856A-839BE4F2FC09}" srcOrd="6" destOrd="0" presId="urn:microsoft.com/office/officeart/2008/layout/VerticalCurvedList"/>
    <dgm:cxn modelId="{E0361D1C-10BF-4646-A064-5FFFD92E7A98}" type="presParOf" srcId="{D9DC450F-9556-C846-856A-839BE4F2FC09}" destId="{EC1EFF22-D8C2-3C4D-AAA2-69FBF624BD7F}" srcOrd="0" destOrd="0" presId="urn:microsoft.com/office/officeart/2008/layout/VerticalCurvedList"/>
    <dgm:cxn modelId="{02D89D4F-97CF-504A-A6E0-638D52152792}" type="presParOf" srcId="{01C59A43-7E22-004A-8B91-4B19DDB69B05}" destId="{7F799ECD-9C9D-6A40-AC24-0D114F26A6DF}" srcOrd="7" destOrd="0" presId="urn:microsoft.com/office/officeart/2008/layout/VerticalCurvedList"/>
    <dgm:cxn modelId="{1B9A39B0-6B7F-9D40-B24E-AA0301FF7502}" type="presParOf" srcId="{01C59A43-7E22-004A-8B91-4B19DDB69B05}" destId="{70D981C7-8906-AD4F-8DC8-56F8EED8356D}" srcOrd="8" destOrd="0" presId="urn:microsoft.com/office/officeart/2008/layout/VerticalCurvedList"/>
    <dgm:cxn modelId="{C13D2B11-AA2C-374A-B9D0-84A6AD0B4F78}" type="presParOf" srcId="{70D981C7-8906-AD4F-8DC8-56F8EED8356D}" destId="{3EACBDED-190B-3D42-A9DF-A17B2995E653}" srcOrd="0" destOrd="0" presId="urn:microsoft.com/office/officeart/2008/layout/VerticalCurvedList"/>
    <dgm:cxn modelId="{DAD9059A-75FC-2146-9785-E6C9564934CC}" type="presParOf" srcId="{01C59A43-7E22-004A-8B91-4B19DDB69B05}" destId="{C10E197E-F204-7241-8436-A37FDA61BDF1}" srcOrd="9" destOrd="0" presId="urn:microsoft.com/office/officeart/2008/layout/VerticalCurvedList"/>
    <dgm:cxn modelId="{BF9A5DF8-5E98-D14C-BAD3-7D85473B75AD}" type="presParOf" srcId="{01C59A43-7E22-004A-8B91-4B19DDB69B05}" destId="{6E484A30-6D55-3840-9884-E18EBEAA57AD}" srcOrd="10" destOrd="0" presId="urn:microsoft.com/office/officeart/2008/layout/VerticalCurvedList"/>
    <dgm:cxn modelId="{2A596751-9BA3-C144-B338-6DD2A7C5CD8D}" type="presParOf" srcId="{6E484A30-6D55-3840-9884-E18EBEAA57AD}" destId="{CB5DCE45-B375-5E4C-9174-8602A04750BC}" srcOrd="0" destOrd="0" presId="urn:microsoft.com/office/officeart/2008/layout/VerticalCurvedList"/>
    <dgm:cxn modelId="{5205D372-3B57-B048-91B5-837117FA1FC0}" type="presParOf" srcId="{01C59A43-7E22-004A-8B91-4B19DDB69B05}" destId="{824DB7E9-FC62-D849-A37E-E6B5B220745D}" srcOrd="11" destOrd="0" presId="urn:microsoft.com/office/officeart/2008/layout/VerticalCurvedList"/>
    <dgm:cxn modelId="{F9C1400E-8304-5045-BF8E-39636738B744}" type="presParOf" srcId="{01C59A43-7E22-004A-8B91-4B19DDB69B05}" destId="{95A2D62C-44B9-CF4B-975E-1BC8C7DD8D40}" srcOrd="12" destOrd="0" presId="urn:microsoft.com/office/officeart/2008/layout/VerticalCurvedList"/>
    <dgm:cxn modelId="{D40205FE-7495-724E-B125-3D21F67E0773}" type="presParOf" srcId="{95A2D62C-44B9-CF4B-975E-1BC8C7DD8D40}" destId="{58C0A725-30A9-9E41-91E9-DAC2042BA2A3}" srcOrd="0" destOrd="0" presId="urn:microsoft.com/office/officeart/2008/layout/VerticalCurvedList"/>
    <dgm:cxn modelId="{C2CFA72D-3178-7F4A-A4E5-BCBFBBB15340}" type="presParOf" srcId="{01C59A43-7E22-004A-8B91-4B19DDB69B05}" destId="{5FD3E676-370E-954E-9AC1-A648970DABFE}" srcOrd="13" destOrd="0" presId="urn:microsoft.com/office/officeart/2008/layout/VerticalCurvedList"/>
    <dgm:cxn modelId="{2EB801A4-A118-8F4D-8799-3BF0463EF347}" type="presParOf" srcId="{01C59A43-7E22-004A-8B91-4B19DDB69B05}" destId="{91502B48-2558-1841-B26E-F6DDFBAAEC76}" srcOrd="14" destOrd="0" presId="urn:microsoft.com/office/officeart/2008/layout/VerticalCurvedList"/>
    <dgm:cxn modelId="{4860EFC8-80DE-A943-A7A7-40B2DAFDEFBE}" type="presParOf" srcId="{91502B48-2558-1841-B26E-F6DDFBAAEC76}" destId="{C2E93DBA-339D-0F43-BC8D-FABA586A19F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CA7FEF-0C7F-A247-8690-D8D551D17481}">
      <dsp:nvSpPr>
        <dsp:cNvPr id="0" name=""/>
        <dsp:cNvSpPr/>
      </dsp:nvSpPr>
      <dsp:spPr>
        <a:xfrm>
          <a:off x="-6122737" y="-937410"/>
          <a:ext cx="7293487" cy="7293487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4C7622-208B-6C47-B2B2-38538C5FDAC0}">
      <dsp:nvSpPr>
        <dsp:cNvPr id="0" name=""/>
        <dsp:cNvSpPr/>
      </dsp:nvSpPr>
      <dsp:spPr>
        <a:xfrm>
          <a:off x="380119" y="246332"/>
          <a:ext cx="7675541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Provide Context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80119" y="246332"/>
        <a:ext cx="7675541" cy="492448"/>
      </dsp:txXfrm>
    </dsp:sp>
    <dsp:sp modelId="{16509569-C659-CD46-82BC-58B4CDC642DB}">
      <dsp:nvSpPr>
        <dsp:cNvPr id="0" name=""/>
        <dsp:cNvSpPr/>
      </dsp:nvSpPr>
      <dsp:spPr>
        <a:xfrm>
          <a:off x="72339" y="184776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63E3B80A-97B5-E542-9278-157185DEF3A1}">
      <dsp:nvSpPr>
        <dsp:cNvPr id="0" name=""/>
        <dsp:cNvSpPr/>
      </dsp:nvSpPr>
      <dsp:spPr>
        <a:xfrm>
          <a:off x="826075" y="985438"/>
          <a:ext cx="7229585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Be Specific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826075" y="985438"/>
        <a:ext cx="7229585" cy="492448"/>
      </dsp:txXfrm>
    </dsp:sp>
    <dsp:sp modelId="{9F7BD42D-E551-C940-AAB7-3F110874AB9F}">
      <dsp:nvSpPr>
        <dsp:cNvPr id="0" name=""/>
        <dsp:cNvSpPr/>
      </dsp:nvSpPr>
      <dsp:spPr>
        <a:xfrm>
          <a:off x="518295" y="923882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7D103E1-65E5-CC4C-8133-7535B5F32C04}">
      <dsp:nvSpPr>
        <dsp:cNvPr id="0" name=""/>
        <dsp:cNvSpPr/>
      </dsp:nvSpPr>
      <dsp:spPr>
        <a:xfrm>
          <a:off x="1070457" y="1724002"/>
          <a:ext cx="6985203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Define Intent &amp; Output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1070457" y="1724002"/>
        <a:ext cx="6985203" cy="492448"/>
      </dsp:txXfrm>
    </dsp:sp>
    <dsp:sp modelId="{EC1EFF22-D8C2-3C4D-AAA2-69FBF624BD7F}">
      <dsp:nvSpPr>
        <dsp:cNvPr id="0" name=""/>
        <dsp:cNvSpPr/>
      </dsp:nvSpPr>
      <dsp:spPr>
        <a:xfrm>
          <a:off x="762677" y="1662446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F799ECD-9C9D-6A40-AC24-0D114F26A6DF}">
      <dsp:nvSpPr>
        <dsp:cNvPr id="0" name=""/>
        <dsp:cNvSpPr/>
      </dsp:nvSpPr>
      <dsp:spPr>
        <a:xfrm>
          <a:off x="1148486" y="2463108"/>
          <a:ext cx="6907174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Give Example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1148486" y="2463108"/>
        <a:ext cx="6907174" cy="492448"/>
      </dsp:txXfrm>
    </dsp:sp>
    <dsp:sp modelId="{3EACBDED-190B-3D42-A9DF-A17B2995E653}">
      <dsp:nvSpPr>
        <dsp:cNvPr id="0" name=""/>
        <dsp:cNvSpPr/>
      </dsp:nvSpPr>
      <dsp:spPr>
        <a:xfrm>
          <a:off x="840706" y="2401552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C10E197E-F204-7241-8436-A37FDA61BDF1}">
      <dsp:nvSpPr>
        <dsp:cNvPr id="0" name=""/>
        <dsp:cNvSpPr/>
      </dsp:nvSpPr>
      <dsp:spPr>
        <a:xfrm>
          <a:off x="1070457" y="3202214"/>
          <a:ext cx="6985203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Positive &amp; Negative Instruction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1070457" y="3202214"/>
        <a:ext cx="6985203" cy="492448"/>
      </dsp:txXfrm>
    </dsp:sp>
    <dsp:sp modelId="{CB5DCE45-B375-5E4C-9174-8602A04750BC}">
      <dsp:nvSpPr>
        <dsp:cNvPr id="0" name=""/>
        <dsp:cNvSpPr/>
      </dsp:nvSpPr>
      <dsp:spPr>
        <a:xfrm>
          <a:off x="762677" y="3140658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24DB7E9-FC62-D849-A37E-E6B5B220745D}">
      <dsp:nvSpPr>
        <dsp:cNvPr id="0" name=""/>
        <dsp:cNvSpPr/>
      </dsp:nvSpPr>
      <dsp:spPr>
        <a:xfrm>
          <a:off x="826075" y="3940779"/>
          <a:ext cx="7229585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chemeClr val="tx1"/>
              </a:solidFill>
            </a:rPr>
            <a:t>Try Chain of Thought - </a:t>
          </a:r>
          <a:r>
            <a:rPr lang="en-IN" sz="2100" b="0" i="0" u="none" kern="1200" dirty="0">
              <a:solidFill>
                <a:schemeClr val="tx1"/>
              </a:solidFill>
            </a:rPr>
            <a:t>break down a complex “thought”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826075" y="3940779"/>
        <a:ext cx="7229585" cy="492448"/>
      </dsp:txXfrm>
    </dsp:sp>
    <dsp:sp modelId="{58C0A725-30A9-9E41-91E9-DAC2042BA2A3}">
      <dsp:nvSpPr>
        <dsp:cNvPr id="0" name=""/>
        <dsp:cNvSpPr/>
      </dsp:nvSpPr>
      <dsp:spPr>
        <a:xfrm>
          <a:off x="518295" y="3879222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5FD3E676-370E-954E-9AC1-A648970DABFE}">
      <dsp:nvSpPr>
        <dsp:cNvPr id="0" name=""/>
        <dsp:cNvSpPr/>
      </dsp:nvSpPr>
      <dsp:spPr>
        <a:xfrm>
          <a:off x="380119" y="4679885"/>
          <a:ext cx="7675541" cy="492448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>
              <a:solidFill>
                <a:schemeClr val="tx1"/>
              </a:solidFill>
            </a:rPr>
            <a:t>Adjust Parameter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80119" y="4679885"/>
        <a:ext cx="7675541" cy="492448"/>
      </dsp:txXfrm>
    </dsp:sp>
    <dsp:sp modelId="{C2E93DBA-339D-0F43-BC8D-FABA586A19FB}">
      <dsp:nvSpPr>
        <dsp:cNvPr id="0" name=""/>
        <dsp:cNvSpPr/>
      </dsp:nvSpPr>
      <dsp:spPr>
        <a:xfrm>
          <a:off x="72339" y="4618329"/>
          <a:ext cx="615560" cy="615560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19T05:23:49.24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19T05:23:54.05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29 24575,'8'1'0,"0"0"0,1-1 0,-1 1 0,15-3 0,4 1 0,2887 1 0,-2889-2 41,0 0 0,35-9 1,11 0-1531,-46 8-5337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19T05:24:03.673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0 24575,'0'0'-819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19T05:24:06.82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B39EC-6004-3540-8BD7-DA18A179DFEF}" type="datetimeFigureOut">
              <a:rPr lang="en-US" smtClean="0"/>
              <a:t>6/2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242FE4-DB8B-2E4F-8EB6-8D7212B5BE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7277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242FE4-DB8B-2E4F-8EB6-8D7212B5BEA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3152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IBM watsonx.ai offers a prompt lab, where users can interact with different prompts using prompt engineering on generative artificial intelligence (AI) models for both zero-shot prompting and few-shot prompting. This allows users to accomplish different natural language processing (NLP) functional tasks and take advantage of IBM vetted pre-trained open-source foundation models (FMs). Encoder-decoder and decoder-only large language models (LLM) are available in the prompt lab today.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Capabilities within the Prompt Lab include: </a:t>
            </a:r>
          </a:p>
          <a:p>
            <a:endParaRPr lang="en-US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latin typeface="+mn-lt"/>
              </a:rPr>
              <a:t>Summarize: </a:t>
            </a:r>
            <a:r>
              <a:rPr lang="en-US" dirty="0">
                <a:latin typeface="+mn-lt"/>
              </a:rPr>
              <a:t>Transform text with domain-specific content into personalized overviews and capture key points (e.g., sales conversation summaries, insurance coverage, meeting transcripts, contract inform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latin typeface="+mn-lt"/>
              </a:rPr>
              <a:t>Generate: </a:t>
            </a:r>
            <a:r>
              <a:rPr lang="en-US" dirty="0">
                <a:latin typeface="+mn-lt"/>
              </a:rPr>
              <a:t>Generate text content for a specific purpose, such as marketing campaigns, job descriptions, blogs or articles, and email drafting support.</a:t>
            </a:r>
            <a:endParaRPr lang="en-US" dirty="0">
              <a:latin typeface="+mn-l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latin typeface="+mn-lt"/>
              </a:rPr>
              <a:t>Extract: </a:t>
            </a:r>
            <a:r>
              <a:rPr lang="en-US" dirty="0">
                <a:latin typeface="+mn-lt"/>
              </a:rPr>
              <a:t>Analyze existing unstructured text content to surface insights in specialized domain areas, such as audit acceleration, SEC 10K fact extraction, and user research findings.</a:t>
            </a:r>
            <a:endParaRPr lang="en-US" dirty="0">
              <a:latin typeface="+mn-l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latin typeface="+mn-lt"/>
              </a:rPr>
              <a:t>Classify: </a:t>
            </a:r>
            <a:r>
              <a:rPr lang="en-US" dirty="0">
                <a:latin typeface="+mn-lt"/>
              </a:rPr>
              <a:t>Read and classify written input with as few as zero examples, such as sorting of customer complaints, threat and vulnerability classification, sentiment analysis, and customer segmentation.</a:t>
            </a:r>
            <a:endParaRPr lang="en-US" dirty="0">
              <a:latin typeface="+mn-l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latin typeface="+mn-lt"/>
              </a:rPr>
              <a:t>Question &amp; Answering (Q&amp;A)</a:t>
            </a:r>
            <a:r>
              <a:rPr lang="en-US" dirty="0">
                <a:latin typeface="+mn-lt"/>
              </a:rPr>
              <a:t>: Based on a set of documents or dynamic content, create a Q&amp;A feature grounded on product specific content, such as building a Q&amp;A resource from a broad knowledge base to provide customer service assistance.</a:t>
            </a:r>
            <a:endParaRPr lang="en-US" dirty="0">
              <a:latin typeface="+mn-lt"/>
              <a:cs typeface="Calibri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2E4B97-47D2-F84D-B38D-90044C23DEC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708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242FE4-DB8B-2E4F-8EB6-8D7212B5BEA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47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000" dirty="0"/>
              <a:t>This self-explanatory slide shows the topics covered in this presentation.</a:t>
            </a:r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D48FAA12-89CE-DDEC-5B0F-E574CB217F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20663" y="228600"/>
            <a:ext cx="6416675" cy="3609975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709A3E-17DE-7EFB-A820-DD56AF95C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772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7583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243852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682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6160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242FE4-DB8B-2E4F-8EB6-8D7212B5BEA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830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34969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572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4599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2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2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2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2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2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3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3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3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3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3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3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3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3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3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4.xml"/></Relationships>
</file>

<file path=ppt/slideLayouts/_rels/slideLayout1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4.xml"/></Relationships>
</file>

<file path=ppt/slideLayouts/_rels/slideLayout1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.xml"/></Relationships>
</file>

<file path=ppt/slideLayouts/_rels/slideLayout1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.xml"/></Relationships>
</file>

<file path=ppt/slideLayouts/_rels/slideLayout1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.xml"/></Relationships>
</file>

<file path=ppt/slideLayouts/_rels/slideLayout1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.xml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4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4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4.xml"/></Relationships>
</file>

<file path=ppt/slideLayouts/_rels/slideLayout1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6.bin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5.xml"/></Relationships>
</file>

<file path=ppt/slideLayouts/_rels/slideLayout1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34.emf"/><Relationship Id="rId4" Type="http://schemas.openxmlformats.org/officeDocument/2006/relationships/image" Target="../media/image36.svg"/></Relationships>
</file>

<file path=ppt/slideLayouts/_rels/slideLayout1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34.emf"/><Relationship Id="rId4" Type="http://schemas.openxmlformats.org/officeDocument/2006/relationships/image" Target="../media/image36.sv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33.png"/></Relationships>
</file>

<file path=ppt/slideLayouts/_rels/slideLayout1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33.png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gif"/><Relationship Id="rId1" Type="http://schemas.openxmlformats.org/officeDocument/2006/relationships/slideMaster" Target="../slideMasters/slideMaster25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Master" Target="../slideMasters/slideMaster25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gif"/><Relationship Id="rId1" Type="http://schemas.openxmlformats.org/officeDocument/2006/relationships/slideMaster" Target="../slideMasters/slideMaster25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gif"/><Relationship Id="rId1" Type="http://schemas.openxmlformats.org/officeDocument/2006/relationships/slideMaster" Target="../slideMasters/slideMaster25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25.xml"/></Relationships>
</file>

<file path=ppt/slideLayouts/_rels/slideLayout1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5.xml"/></Relationships>
</file>

<file path=ppt/slideLayouts/_rels/slideLayout1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5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5.xml"/></Relationships>
</file>

<file path=ppt/slideLayouts/_rels/slideLayout1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5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5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5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5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6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7.xml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9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0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0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0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0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0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1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1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1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1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1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1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2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2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2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2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2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2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2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6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.bin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8.tif"/><Relationship Id="rId1" Type="http://schemas.openxmlformats.org/officeDocument/2006/relationships/slideMaster" Target="../slideMasters/slideMaster13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4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4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4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4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4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4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6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7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962504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962505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452445"/>
      </p:ext>
    </p:extLst>
  </p:cSld>
  <p:clrMapOvr>
    <a:masterClrMapping/>
  </p:clrMapOvr>
  <p:transition spd="med"/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4"/>
            <a:ext cx="4953943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6" y="224030"/>
            <a:ext cx="5520317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6" indent="-292546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24" indent="-292546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37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00328"/>
      </p:ext>
    </p:extLst>
  </p:cSld>
  <p:clrMapOvr>
    <a:masterClrMapping/>
  </p:clrMapOvr>
  <p:transition spd="med"/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413556"/>
      </p:ext>
    </p:extLst>
  </p:cSld>
  <p:clrMapOvr>
    <a:masterClrMapping/>
  </p:clrMapOvr>
  <p:transition spd="med"/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01" y="4649725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20" y="4648201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8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8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92776"/>
      </p:ext>
    </p:extLst>
  </p:cSld>
  <p:clrMapOvr>
    <a:masterClrMapping/>
  </p:clrMapOvr>
  <p:transition spd="med"/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2" y="213242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5" y="214828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6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90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4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09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30"/>
            <a:ext cx="2476179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166535"/>
            <a:ext cx="2476179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346313"/>
      </p:ext>
    </p:extLst>
  </p:cSld>
  <p:clrMapOvr>
    <a:masterClrMapping/>
  </p:clrMapOvr>
  <p:transition spd="med"/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7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2" y="201169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9"/>
            <a:ext cx="5523781" cy="26677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09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49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58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2" y="3238500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09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49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58" indent="-393109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425505"/>
      </p:ext>
    </p:extLst>
  </p:cSld>
  <p:clrMapOvr>
    <a:masterClrMapping/>
  </p:clrMapOvr>
  <p:transition spd="med"/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90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5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9" y="4201669"/>
            <a:ext cx="2475383" cy="1428755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630649"/>
      </p:ext>
    </p:extLst>
  </p:cSld>
  <p:clrMapOvr>
    <a:masterClrMapping/>
  </p:clrMapOvr>
  <p:transition spd="med"/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9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101562"/>
      </p:ext>
    </p:extLst>
  </p:cSld>
  <p:clrMapOvr>
    <a:masterClrMapping/>
  </p:clrMapOvr>
  <p:transition spd="med"/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3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1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1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93054"/>
      </p:ext>
    </p:extLst>
  </p:cSld>
  <p:clrMapOvr>
    <a:masterClrMapping/>
  </p:clrMapOvr>
  <p:transition spd="med"/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9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9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56694"/>
      </p:ext>
    </p:extLst>
  </p:cSld>
  <p:clrMapOvr>
    <a:masterClrMapping/>
  </p:clrMapOvr>
  <p:transition spd="med"/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4591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20002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1"/>
            <a:ext cx="247073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8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4" y="288038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4" y="288038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677931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10313"/>
            <a:ext cx="8569796" cy="4095751"/>
          </a:xfrm>
        </p:spPr>
        <p:txBody>
          <a:bodyPr/>
          <a:lstStyle>
            <a:lvl1pPr>
              <a:defRPr sz="85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392291"/>
      </p:ext>
    </p:extLst>
  </p:cSld>
  <p:clrMapOvr>
    <a:masterClrMapping/>
  </p:clrMapOvr>
  <p:transition spd="med"/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6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596319"/>
      </p:ext>
    </p:extLst>
  </p:cSld>
  <p:clrMapOvr>
    <a:masterClrMapping/>
  </p:clrMapOvr>
  <p:transition spd="med"/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8"/>
            <a:ext cx="3711980" cy="953295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1" y="1714501"/>
            <a:ext cx="5049180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32398"/>
      </p:ext>
    </p:extLst>
  </p:cSld>
  <p:clrMapOvr>
    <a:masterClrMapping/>
  </p:clrMapOvr>
  <p:transition spd="med"/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22193" cy="22867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2476179" cy="57157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8037"/>
            <a:ext cx="2476179" cy="57157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463084"/>
      </p:ext>
    </p:extLst>
  </p:cSld>
  <p:clrMapOvr>
    <a:masterClrMapping/>
  </p:clrMapOvr>
  <p:transition spd="med"/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7"/>
            <a:ext cx="2476179" cy="228679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9" cy="57157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4957"/>
            <a:ext cx="2476179" cy="57157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686324"/>
      </p:ext>
    </p:extLst>
  </p:cSld>
  <p:clrMapOvr>
    <a:masterClrMapping/>
  </p:clrMapOvr>
  <p:transition spd="med"/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19020" cy="22867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9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485612"/>
      </p:ext>
    </p:extLst>
  </p:cSld>
  <p:clrMapOvr>
    <a:masterClrMapping/>
  </p:clrMapOvr>
  <p:transition spd="med"/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2286795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9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1"/>
            <a:ext cx="247617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61531"/>
      </p:ext>
    </p:extLst>
  </p:cSld>
  <p:clrMapOvr>
    <a:masterClrMapping/>
  </p:clrMapOvr>
  <p:transition spd="med"/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1"/>
            <a:ext cx="2476179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0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2" indent="-91420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3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8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4" y="288038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517740"/>
      </p:ext>
    </p:extLst>
  </p:cSld>
  <p:clrMapOvr>
    <a:masterClrMapping/>
  </p:clrMapOvr>
  <p:transition spd="med"/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1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2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6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1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65" indent="-201126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000" y="288038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8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000" y="3236978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7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674395"/>
      </p:ext>
    </p:extLst>
  </p:cSld>
  <p:clrMapOvr>
    <a:masterClrMapping/>
  </p:clrMapOvr>
  <p:transition spd="med"/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841250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9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7"/>
            <a:ext cx="2477765" cy="570707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770615"/>
      </p:ext>
    </p:extLst>
  </p:cSld>
  <p:clrMapOvr>
    <a:masterClrMapping/>
  </p:clrMapOvr>
  <p:transition spd="med"/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6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6"/>
            <a:ext cx="2476179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8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972554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7" y="224029"/>
            <a:ext cx="5520317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 marL="292494" indent="-292494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2pPr>
            <a:lvl3pPr marL="548427" indent="-292494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3pPr>
            <a:lvl4pPr marL="877483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466066"/>
      </p:ext>
    </p:extLst>
  </p:cSld>
  <p:clrMapOvr>
    <a:masterClrMapping/>
  </p:clrMapOvr>
  <p:transition spd="med"/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7765" cy="2286795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9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1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5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701774"/>
      </p:ext>
    </p:extLst>
  </p:cSld>
  <p:clrMapOvr>
    <a:masterClrMapping/>
  </p:clrMapOvr>
  <p:transition spd="med"/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24575" cy="22867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3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1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5" y="333375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615115"/>
      </p:ext>
    </p:extLst>
  </p:cSld>
  <p:clrMapOvr>
    <a:masterClrMapping/>
  </p:clrMapOvr>
  <p:transition spd="med"/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9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5" y="288036"/>
            <a:ext cx="2476179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3"/>
            <a:ext cx="2476179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80368"/>
      </p:ext>
    </p:extLst>
  </p:cSld>
  <p:clrMapOvr>
    <a:masterClrMapping/>
  </p:clrMapOvr>
  <p:transition spd="med"/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666751"/>
            <a:ext cx="2476179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1"/>
            <a:ext cx="2476179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1"/>
            <a:ext cx="2476179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5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09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4" indent="-10970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8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2" y="288038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4" y="288038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2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4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6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995227"/>
      </p:ext>
    </p:extLst>
  </p:cSld>
  <p:clrMapOvr>
    <a:masterClrMapping/>
  </p:clrMapOvr>
  <p:transition spd="med"/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7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7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9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2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741308"/>
      </p:ext>
    </p:extLst>
  </p:cSld>
  <p:clrMapOvr>
    <a:masterClrMapping/>
  </p:clrMapOvr>
  <p:transition spd="med"/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7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7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3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9" cy="2477295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2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1" y="284957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27420"/>
      </p:ext>
    </p:extLst>
  </p:cSld>
  <p:clrMapOvr>
    <a:masterClrMapping/>
  </p:clrMapOvr>
  <p:transition spd="med"/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627994989"/>
      </p:ext>
    </p:extLst>
  </p:cSld>
  <p:clrMapOvr>
    <a:masterClrMapping/>
  </p:clrMapOvr>
  <p:transition spd="med"/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2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38249925"/>
      </p:ext>
    </p:extLst>
  </p:cSld>
  <p:clrMapOvr>
    <a:masterClrMapping/>
  </p:clrMapOvr>
  <p:transition spd="med"/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2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8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955765463"/>
      </p:ext>
    </p:extLst>
  </p:cSld>
  <p:clrMapOvr>
    <a:masterClrMapping/>
  </p:clrMapOvr>
  <p:transition spd="med"/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2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650257930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455556"/>
      </p:ext>
    </p:extLst>
  </p:cSld>
  <p:clrMapOvr>
    <a:masterClrMapping/>
  </p:clrMapOvr>
  <p:transition spd="med"/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2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7" y="284958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90790829"/>
      </p:ext>
    </p:extLst>
  </p:cSld>
  <p:clrMapOvr>
    <a:masterClrMapping/>
  </p:clrMapOvr>
  <p:transition spd="med"/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8000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80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8000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80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8000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80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7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8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7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8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7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8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026473"/>
      </p:ext>
    </p:extLst>
  </p:cSld>
  <p:clrMapOvr>
    <a:masterClrMapping/>
  </p:clrMapOvr>
  <p:transition spd="med"/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5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704002"/>
      </p:ext>
    </p:extLst>
  </p:cSld>
  <p:clrMapOvr>
    <a:masterClrMapping/>
  </p:clrMapOvr>
  <p:transition spd="med"/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7"/>
            <a:ext cx="2476179" cy="571579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4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09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99791"/>
      </p:ext>
    </p:extLst>
  </p:cSld>
  <p:clrMapOvr>
    <a:masterClrMapping/>
  </p:clrMapOvr>
  <p:transition spd="med"/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8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520761"/>
      </p:ext>
    </p:extLst>
  </p:cSld>
  <p:clrMapOvr>
    <a:masterClrMapping/>
  </p:clrMapOvr>
  <p:transition spd="med"/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7"/>
            <a:ext cx="2476179" cy="571579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4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09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6" y="6402390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9" cy="571579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4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09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173016"/>
      </p:ext>
    </p:extLst>
  </p:cSld>
  <p:clrMapOvr>
    <a:masterClrMapping/>
  </p:clrMapOvr>
  <p:transition spd="med"/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6" y="3084233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684052"/>
      </p:ext>
    </p:extLst>
  </p:cSld>
  <p:clrMapOvr>
    <a:masterClrMapping/>
  </p:clrMapOvr>
  <p:transition spd="med"/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47648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6"/>
            <a:ext cx="5521400" cy="1138428"/>
          </a:xfrm>
        </p:spPr>
        <p:txBody>
          <a:bodyPr rIns="457200"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192602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6" y="6469422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7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3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7" y="3333751"/>
            <a:ext cx="2481639" cy="2476500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3" y="3333751"/>
            <a:ext cx="2481639" cy="2476500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3164413"/>
      </p:ext>
    </p:extLst>
  </p:cSld>
  <p:clrMapOvr>
    <a:masterClrMapping/>
  </p:clrMapOvr>
  <p:transition spd="med"/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601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5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72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5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0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94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2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520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5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0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94" indent="-163765" defTabSz="58052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1656184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649725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20" y="4648201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8" y="288037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970358"/>
      </p:ext>
    </p:extLst>
  </p:cSld>
  <p:clrMapOvr>
    <a:masterClrMapping/>
  </p:clrMapOvr>
  <p:transition spd="med"/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3711980" cy="953295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21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0"/>
            <a:ext cx="5091259" cy="4286251"/>
          </a:xfrm>
          <a:prstGeom prst="rect">
            <a:avLst/>
          </a:prstGeom>
        </p:spPr>
        <p:txBody>
          <a:bodyPr/>
          <a:lstStyle>
            <a:lvl1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714500"/>
            <a:ext cx="5091259" cy="4286251"/>
          </a:xfrm>
          <a:prstGeom prst="rect">
            <a:avLst/>
          </a:prstGeom>
        </p:spPr>
        <p:txBody>
          <a:bodyPr/>
          <a:lstStyle>
            <a:lvl1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13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49100389"/>
      </p:ext>
    </p:extLst>
  </p:cSld>
  <p:clrMapOvr>
    <a:masterClrMapping/>
  </p:clrMapOvr>
  <p:transition spd="med"/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[2-1] 4-column ">
    <p:bg>
      <p:bgPr>
        <a:solidFill>
          <a:srgbClr val="CDE3F5">
            <a:alpha val="4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3F4BCE-E9D5-5962-B6C0-190140306AB7}"/>
              </a:ext>
            </a:extLst>
          </p:cNvPr>
          <p:cNvSpPr/>
          <p:nvPr userDrawn="1"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6200" tIns="76200" rIns="76200" bIns="762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619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16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-4463" y="3429000"/>
            <a:ext cx="3048000" cy="3070861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9F49CCD-E544-2242-BCDB-2F042D52BC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2" y="6096002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3B347D2-D190-7794-0805-C7BC464E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0" y="381000"/>
            <a:ext cx="2666995" cy="228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36A56-06EB-9301-CDE7-462A8B95E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1623060"/>
            <a:ext cx="2476500" cy="1651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3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DAC562A-80C4-5E6D-5055-1BEC0F16832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1" y="-1"/>
            <a:ext cx="9144001" cy="6858000"/>
          </a:xfrm>
          <a:noFill/>
        </p:spPr>
        <p:txBody>
          <a:bodyPr lIns="228600" tIns="45720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D40E2C-915E-9878-0071-C230D000C9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1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05430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7)_Title and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1714501"/>
            <a:ext cx="3048000" cy="5143500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1714501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1714501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1714501"/>
            <a:ext cx="3048000" cy="5143500"/>
          </a:xfrm>
          <a:noFill/>
        </p:spPr>
        <p:txBody>
          <a:bodyPr lIns="228600" tIns="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2" y="1714500"/>
            <a:ext cx="2975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8" y="1714500"/>
            <a:ext cx="1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tle">
            <a:extLst>
              <a:ext uri="{FF2B5EF4-FFF2-40B4-BE49-F238E27FC236}">
                <a16:creationId xmlns:a16="http://schemas.microsoft.com/office/drawing/2014/main" id="{64341A19-DCFD-4E49-9E0E-E2931E51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81000"/>
            <a:ext cx="8760025" cy="1016000"/>
          </a:xfrm>
        </p:spPr>
        <p:txBody>
          <a:bodyPr/>
          <a:lstStyle>
            <a:lvl1pPr>
              <a:lnSpc>
                <a:spcPct val="100000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E696087-2914-2742-B45C-67DFABB88A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2" y="6096002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38D9AC3-22E3-014D-AC23-DA10B62B9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1" y="190501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704677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5-1] 1/4 :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1" y="1714501"/>
            <a:ext cx="8572499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1" indent="-152391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0" indent="-152391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71" indent="-152391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61" indent="-152391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2" y="1714497"/>
            <a:ext cx="2476500" cy="457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3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43B2228-E44B-174E-ACE3-83C7FA1232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2" y="6096000"/>
            <a:ext cx="2476497" cy="403861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F25A9B-A1BE-A642-B57F-BF7F96FFE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1"/>
            <a:ext cx="471765" cy="19050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C646A38-6A99-96E9-3048-36F367A1A9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381000"/>
            <a:ext cx="2476497" cy="2724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572519696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4] 3 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4B66DA08-E4C1-28EA-F038-9955AABC7B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3"/>
            <a:ext cx="6096000" cy="6858000"/>
          </a:xfrm>
        </p:spPr>
        <p:txBody>
          <a:bodyPr lIns="228600" tIns="457200" rIns="91440" bIns="91440" anchor="ctr"/>
          <a:lstStyle>
            <a:lvl1pPr algn="ctr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br>
              <a:rPr lang="en-US" dirty="0"/>
            </a:br>
            <a:r>
              <a:rPr lang="en-US" dirty="0"/>
              <a:t>For optimal results use IBV optimized images tailored to this space https://ibm.box.com/s/o90abqtdne6u89uouh42h0et7pg0hc4q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651001"/>
            <a:ext cx="5486400" cy="1778001"/>
          </a:xfrm>
        </p:spPr>
        <p:txBody>
          <a:bodyPr>
            <a:noAutofit/>
          </a:bodyPr>
          <a:lstStyle>
            <a:lvl1pPr>
              <a:defRPr sz="3333" b="0" i="0">
                <a:solidFill>
                  <a:schemeClr val="tx1"/>
                </a:solidFill>
                <a:latin typeface="IBM Plex Sans ExtLt" panose="020B0303050203000203" pitchFamily="34" charset="0"/>
                <a:ea typeface="IBM Plex Sans ExtLt" panose="020B0303050203000203" pitchFamily="34" charset="0"/>
                <a:cs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667" b="0" i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85A5FBD-0BD7-F996-69FA-7ECF8144CC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381000"/>
            <a:ext cx="2476497" cy="2285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167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8EA8F7A3-7507-ADB2-14B8-886A4E1CDDF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0" y="3428999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F2923D2A-64F7-D40B-5E02-15B78A5E146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9600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749B7DEA-2243-3936-BDBB-1194347F94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14400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227263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372616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337108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601"/>
            <a:ext cx="2474591" cy="2286795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7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3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7" y="3333752"/>
            <a:ext cx="2481639" cy="2476499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3" y="3333752"/>
            <a:ext cx="2481639" cy="2476499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7" y="288037"/>
            <a:ext cx="2481639" cy="2572543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7" y="3333751"/>
            <a:ext cx="2481639" cy="2476499"/>
          </a:xfrm>
          <a:prstGeom prst="rect">
            <a:avLst/>
          </a:prstGeom>
        </p:spPr>
        <p:txBody>
          <a:bodyPr/>
          <a:lstStyle>
            <a:lvl1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324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324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7462238"/>
      </p:ext>
    </p:extLst>
  </p:cSld>
  <p:clrMapOvr>
    <a:masterClrMapping/>
  </p:clrMapOvr>
  <p:transition spd="med"/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2] hd, variable; 2 txt">
    <p:bg>
      <p:bgPr>
        <a:solidFill>
          <a:schemeClr val="bg1">
            <a:alpha val="80303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C008C15D-C6EE-D94C-AED9-A77F48974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651000"/>
            <a:ext cx="5522976" cy="1072896"/>
          </a:xfrm>
        </p:spPr>
        <p:txBody>
          <a:bodyPr/>
          <a:lstStyle>
            <a:lvl1pPr>
              <a:defRPr sz="2333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229935DA-EE12-504A-A42D-8C8FC12B76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0999" y="3429001"/>
            <a:ext cx="5524500" cy="2857499"/>
          </a:xfrm>
        </p:spPr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C1A1368-427E-E729-C688-CEA619FABA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381000"/>
            <a:ext cx="2476497" cy="2285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66B3B21-DCDD-6C45-C936-3B77F3E462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1" y="-3"/>
            <a:ext cx="3044956" cy="6858000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1183E754-C11A-6BDF-8DEA-FD356F968A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42479" y="1"/>
            <a:ext cx="3048000" cy="6857999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015801FC-5658-C5C5-786B-4628C96C49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0" y="6096002"/>
            <a:ext cx="5522976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570FA5-ABE4-1F5E-07D6-03D74A48F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1"/>
            <a:ext cx="471765" cy="1905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9C4929-34A2-D6C1-7E74-7A8DB82060EC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5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012700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1" y="3426886"/>
            <a:ext cx="3047995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69C09FD-DC20-EDEF-2C18-09AEDB31B5BF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6805" y="3578257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6760348-1734-EC6C-1331-6B3BC699528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44005" y="3451586"/>
            <a:ext cx="3047995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33335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2" y="21324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4" y="214828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9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698930"/>
      </p:ext>
    </p:extLst>
  </p:cSld>
  <p:clrMapOvr>
    <a:masterClrMapping/>
  </p:clrMapOvr>
  <p:transition spd="med"/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 descr="Place imagery here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IBM 8-bar logo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492180"/>
      </p:ext>
    </p:extLst>
  </p:cSld>
  <p:clrMapOvr>
    <a:masterClrMapping/>
  </p:clrMapOvr>
  <p:transition spd="med"/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Blue 10 full slide background 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5" tIns="45715" rIns="45715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92222"/>
      </p:ext>
    </p:extLst>
  </p:cSld>
  <p:clrMapOvr>
    <a:masterClrMapping/>
  </p:clrMapOvr>
  <p:transition spd="med"/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86741"/>
      </p:ext>
    </p:extLst>
  </p:cSld>
  <p:clrMapOvr>
    <a:masterClrMapping/>
  </p:clrMapOvr>
  <p:transition spd="med"/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9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507952"/>
      </p:ext>
    </p:extLst>
  </p:cSld>
  <p:clrMapOvr>
    <a:masterClrMapping/>
  </p:clrMapOvr>
  <p:transition spd="med"/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9" cy="52395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9" name="Picture 8" descr="IBM 8-bar logo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7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915683"/>
      </p:ext>
    </p:extLst>
  </p:cSld>
  <p:clrMapOvr>
    <a:masterClrMapping/>
  </p:clrMapOvr>
  <p:transition spd="med"/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1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7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7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425552"/>
      </p:ext>
    </p:extLst>
  </p:cSld>
  <p:clrMapOvr>
    <a:masterClrMapping/>
  </p:clrMapOvr>
  <p:transition spd="med"/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8"/>
            <a:ext cx="2474591" cy="5715793"/>
          </a:xfrm>
        </p:spPr>
        <p:txBody>
          <a:bodyPr/>
          <a:lstStyle>
            <a:lvl1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405604"/>
      </p:ext>
    </p:extLst>
  </p:cSld>
  <p:clrMapOvr>
    <a:masterClrMapping/>
  </p:clrMapOvr>
  <p:transition spd="med"/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342892"/>
      </p:ext>
    </p:extLst>
  </p:cSld>
  <p:clrMapOvr>
    <a:masterClrMapping/>
  </p:clrMapOvr>
  <p:transition spd="med"/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10313"/>
            <a:ext cx="8569796" cy="4095751"/>
          </a:xfrm>
        </p:spPr>
        <p:txBody>
          <a:bodyPr/>
          <a:lstStyle>
            <a:lvl1pPr>
              <a:defRPr sz="86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220842"/>
      </p:ext>
    </p:extLst>
  </p:cSld>
  <p:clrMapOvr>
    <a:masterClrMapping/>
  </p:clrMapOvr>
  <p:transition spd="med"/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3" cy="1429544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6" y="224029"/>
            <a:ext cx="5520317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 marL="292601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2pPr>
            <a:lvl3pPr marL="548626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3pPr>
            <a:lvl4pPr marL="877802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016812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9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9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18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57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9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18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57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046832"/>
      </p:ext>
    </p:extLst>
  </p:cSld>
  <p:clrMapOvr>
    <a:masterClrMapping/>
  </p:clrMapOvr>
  <p:transition spd="med"/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121534"/>
      </p:ext>
    </p:extLst>
  </p:cSld>
  <p:clrMapOvr>
    <a:masterClrMapping/>
  </p:clrMapOvr>
  <p:transition spd="med"/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7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9" y="4649724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121745"/>
      </p:ext>
    </p:extLst>
  </p:cSld>
  <p:clrMapOvr>
    <a:masterClrMapping/>
  </p:clrMapOvr>
  <p:transition spd="med"/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167327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166534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092381"/>
      </p:ext>
    </p:extLst>
  </p:cSld>
  <p:clrMapOvr>
    <a:masterClrMapping/>
  </p:clrMapOvr>
  <p:transition spd="med"/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1" y="201168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9"/>
            <a:ext cx="5523781" cy="26677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 descr="Horizontal row divider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1" y="3238500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79881"/>
      </p:ext>
    </p:extLst>
  </p:cSld>
  <p:clrMapOvr>
    <a:masterClrMapping/>
  </p:clrMapOvr>
  <p:transition spd="med"/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7" name="Straight Connector 16" descr="Horizontal row divider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5" name="Straight Connector 14" descr="Horizontal row divider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8" y="4201669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781347"/>
      </p:ext>
    </p:extLst>
  </p:cSld>
  <p:clrMapOvr>
    <a:masterClrMapping/>
  </p:clrMapOvr>
  <p:transition spd="med"/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42594"/>
      </p:ext>
    </p:extLst>
  </p:cSld>
  <p:clrMapOvr>
    <a:masterClrMapping/>
  </p:clrMapOvr>
  <p:transition spd="med"/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1" name="Straight Connector 20" descr="Vertical column divider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 descr="Vertical column divider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09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462917"/>
      </p:ext>
    </p:extLst>
  </p:cSld>
  <p:clrMapOvr>
    <a:masterClrMapping/>
  </p:clrMapOvr>
  <p:transition spd="med"/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7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390527"/>
      </p:ext>
    </p:extLst>
  </p:cSld>
  <p:clrMapOvr>
    <a:masterClrMapping/>
  </p:clrMapOvr>
  <p:transition spd="med"/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 descr="Vertical column divider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Picture Placeholder 13" descr="Place pictogram here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3" descr="Place pictogram here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4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4" y="1714500"/>
            <a:ext cx="247073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3" descr="Place pictogram here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3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146797"/>
      </p:ext>
    </p:extLst>
  </p:cSld>
  <p:clrMapOvr>
    <a:masterClrMapping/>
  </p:clrMapOvr>
  <p:transition spd="med"/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5" y="192024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5047593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68661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9" y="4201669"/>
            <a:ext cx="2475383" cy="142875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28798"/>
      </p:ext>
    </p:extLst>
  </p:cSld>
  <p:clrMapOvr>
    <a:masterClrMapping/>
  </p:clrMapOvr>
  <p:transition spd="med"/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3711980" cy="953295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1714500"/>
            <a:ext cx="5047593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54669"/>
      </p:ext>
    </p:extLst>
  </p:cSld>
  <p:clrMapOvr>
    <a:masterClrMapping/>
  </p:clrMapOvr>
  <p:transition spd="med"/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2193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20" y="288037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4" y="288037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787295"/>
      </p:ext>
    </p:extLst>
  </p:cSld>
  <p:clrMapOvr>
    <a:masterClrMapping/>
  </p:clrMapOvr>
  <p:transition spd="med"/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6177" cy="228679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26302"/>
      </p:ext>
    </p:extLst>
  </p:cSld>
  <p:clrMapOvr>
    <a:masterClrMapping/>
  </p:clrMapOvr>
  <p:transition spd="med"/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19020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7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1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335628"/>
      </p:ext>
    </p:extLst>
  </p:cSld>
  <p:clrMapOvr>
    <a:masterClrMapping/>
  </p:clrMapOvr>
  <p:transition spd="med"/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3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7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8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968468"/>
      </p:ext>
    </p:extLst>
  </p:cSld>
  <p:clrMapOvr>
    <a:masterClrMapping/>
  </p:clrMapOvr>
  <p:transition spd="med"/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 descr="Vertical column divider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Picture Placeholder 4" descr="Place pictogram here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7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9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 descr="Place pictogram here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3" y="288037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50396"/>
      </p:ext>
    </p:extLst>
  </p:cSld>
  <p:clrMapOvr>
    <a:masterClrMapping/>
  </p:clrMapOvr>
  <p:transition spd="med"/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 descr="Place pictogram here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00A530A6-2F26-DA70-D0D9-6DD90453CE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 descr="Place pictogram here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9C5483A0-0E31-72CE-21C3-6248FAEBC0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6" descr="Place pictogram here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23697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18" descr="Place pictogram here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46450"/>
      </p:ext>
    </p:extLst>
  </p:cSld>
  <p:clrMapOvr>
    <a:masterClrMapping/>
  </p:clrMapOvr>
  <p:transition spd="med"/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7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841249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2" y="28803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301086"/>
      </p:ext>
    </p:extLst>
  </p:cSld>
  <p:clrMapOvr>
    <a:masterClrMapping/>
  </p:clrMapOvr>
  <p:transition spd="med"/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7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131539"/>
      </p:ext>
    </p:extLst>
  </p:cSld>
  <p:clrMapOvr>
    <a:masterClrMapping/>
  </p:clrMapOvr>
  <p:transition spd="med"/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940522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591443"/>
      </p:ext>
    </p:extLst>
  </p:cSld>
  <p:clrMapOvr>
    <a:masterClrMapping/>
  </p:clrMapOvr>
  <p:transition spd="med"/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894112"/>
      </p:ext>
    </p:extLst>
  </p:cSld>
  <p:clrMapOvr>
    <a:masterClrMapping/>
  </p:clrMapOvr>
  <p:transition spd="med"/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6" y="28803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2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654048"/>
      </p:ext>
    </p:extLst>
  </p:cSld>
  <p:clrMapOvr>
    <a:masterClrMapping/>
  </p:clrMapOvr>
  <p:transition spd="med"/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4" name="Straight Connector 23" descr="Vertical column divider">
            <a:extLst>
              <a:ext uri="{FF2B5EF4-FFF2-40B4-BE49-F238E27FC236}">
                <a16:creationId xmlns:a16="http://schemas.microsoft.com/office/drawing/2014/main" id="{B5CBE6E3-0E18-8A57-578D-D314948AF1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5" descr="Place icon here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49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8" name="Straight Connector 27" descr="Vertical column divider">
            <a:extLst>
              <a:ext uri="{FF2B5EF4-FFF2-40B4-BE49-F238E27FC236}">
                <a16:creationId xmlns:a16="http://schemas.microsoft.com/office/drawing/2014/main" id="{52FF3B59-8BBA-8C99-9D4D-743723E434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5" descr="Place icon here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1" y="666749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7" name="Straight Connector 26" descr="Vertical column divider">
            <a:extLst>
              <a:ext uri="{FF2B5EF4-FFF2-40B4-BE49-F238E27FC236}">
                <a16:creationId xmlns:a16="http://schemas.microsoft.com/office/drawing/2014/main" id="{47200B05-7E36-4E03-3739-0BA9837646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Picture Placeholder 15" descr="Place icon here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4" y="666749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3" name="Straight Connector 22" descr="Horizontal row divider">
            <a:extLst>
              <a:ext uri="{FF2B5EF4-FFF2-40B4-BE49-F238E27FC236}">
                <a16:creationId xmlns:a16="http://schemas.microsoft.com/office/drawing/2014/main" id="{252CDB94-BA57-B58F-95F0-D406FE34BB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5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icture Placeholder 15" descr="Place icon here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Picture Placeholder 15" descr="Place icon here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15" descr="Place icon here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4" y="3714751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551603"/>
      </p:ext>
    </p:extLst>
  </p:cSld>
  <p:clrMapOvr>
    <a:masterClrMapping/>
  </p:clrMapOvr>
  <p:transition spd="med"/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955612"/>
      </p:ext>
    </p:extLst>
  </p:cSld>
  <p:clrMapOvr>
    <a:masterClrMapping/>
  </p:clrMapOvr>
  <p:transition spd="med"/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4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647992"/>
      </p:ext>
    </p:extLst>
  </p:cSld>
  <p:clrMapOvr>
    <a:masterClrMapping/>
  </p:clrMapOvr>
  <p:transition spd="med"/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10" descr="Place imagery here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53689593"/>
      </p:ext>
    </p:extLst>
  </p:cSld>
  <p:clrMapOvr>
    <a:masterClrMapping/>
  </p:clrMapOvr>
  <p:transition spd="med"/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 descr="Place imagery here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568533"/>
      </p:ext>
    </p:extLst>
  </p:cSld>
  <p:clrMapOvr>
    <a:masterClrMapping/>
  </p:clrMapOvr>
  <p:transition spd="med"/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63983776"/>
      </p:ext>
    </p:extLst>
  </p:cSld>
  <p:clrMapOvr>
    <a:masterClrMapping/>
  </p:clrMapOvr>
  <p:transition spd="med"/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906102"/>
      </p:ext>
    </p:extLst>
  </p:cSld>
  <p:clrMapOvr>
    <a:masterClrMapping/>
  </p:clrMapOvr>
  <p:transition spd="med"/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64803286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7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2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1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365337"/>
      </p:ext>
    </p:extLst>
  </p:cSld>
  <p:clrMapOvr>
    <a:masterClrMapping/>
  </p:clrMapOvr>
  <p:transition spd="med"/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7" descr="Place bio portrait here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7" descr="Place bio portrait here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607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 descr="Place bio portrait here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62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 descr="Place bio portrait here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 descr="Place bio portrait here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607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 descr="Place bio portrait here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62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743382"/>
      </p:ext>
    </p:extLst>
  </p:cSld>
  <p:clrMapOvr>
    <a:masterClrMapping/>
  </p:clrMapOvr>
  <p:transition spd="med"/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3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8"/>
            <a:ext cx="8571384" cy="5715793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295170"/>
      </p:ext>
    </p:extLst>
  </p:cSld>
  <p:clrMapOvr>
    <a:masterClrMapping/>
  </p:clrMapOvr>
  <p:transition spd="med"/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505827"/>
      </p:ext>
    </p:extLst>
  </p:cSld>
  <p:clrMapOvr>
    <a:masterClrMapping/>
  </p:clrMapOvr>
  <p:transition spd="med"/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067681"/>
      </p:ext>
    </p:extLst>
  </p:cSld>
  <p:clrMapOvr>
    <a:masterClrMapping/>
  </p:clrMapOvr>
  <p:transition spd="med"/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5" y="6402389"/>
            <a:ext cx="2477765" cy="190500"/>
          </a:xfrm>
        </p:spPr>
        <p:txBody>
          <a:bodyPr/>
          <a:lstStyle/>
          <a:p>
            <a:r>
              <a:rPr lang="en-US"/>
              <a:t>IBM Data and AI / © 2023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270490"/>
      </p:ext>
    </p:extLst>
  </p:cSld>
  <p:clrMapOvr>
    <a:masterClrMapping/>
  </p:clrMapOvr>
  <p:transition spd="med"/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1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544683"/>
      </p:ext>
    </p:extLst>
  </p:cSld>
  <p:clrMapOvr>
    <a:masterClrMapping/>
  </p:clrMapOvr>
  <p:transition spd="med"/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Data and AI / 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708275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EC0ABF4-1C51-BF7D-70CF-DD2C38C9DB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4" y="6048047"/>
            <a:ext cx="2476177" cy="571500"/>
          </a:xfrm>
          <a:prstGeom prst="rect">
            <a:avLst/>
          </a:prstGeom>
        </p:spPr>
        <p:txBody>
          <a:bodyPr anchor="b"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069D4BA-0EE4-89E6-7C3A-71F71400A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2" y="6000751"/>
            <a:ext cx="2476177" cy="618796"/>
          </a:xfrm>
          <a:prstGeom prst="rect">
            <a:avLst/>
          </a:prstGeom>
        </p:spPr>
        <p:txBody>
          <a:bodyPr anchor="b"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9456312"/>
      </p:ext>
    </p:extLst>
  </p:cSld>
  <p:clrMapOvr>
    <a:masterClrMapping/>
  </p:clrMapOvr>
  <p:transition spd="med"/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5" tIns="45715" rIns="45715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14509F-3705-A705-C5B3-FA435C246A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4" y="6048047"/>
            <a:ext cx="2476177" cy="571500"/>
          </a:xfrm>
          <a:prstGeom prst="rect">
            <a:avLst/>
          </a:prstGeom>
        </p:spPr>
        <p:txBody>
          <a:bodyPr anchor="b"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F264794-39E6-B78D-2E92-D8D02F918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2" y="6000751"/>
            <a:ext cx="2476177" cy="618796"/>
          </a:xfrm>
          <a:prstGeom prst="rect">
            <a:avLst/>
          </a:prstGeom>
        </p:spPr>
        <p:txBody>
          <a:bodyPr anchor="b"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1612633"/>
      </p:ext>
    </p:extLst>
  </p:cSld>
  <p:clrMapOvr>
    <a:masterClrMapping/>
  </p:clrMapOvr>
  <p:transition spd="med"/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751404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844669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7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80307"/>
      </p:ext>
    </p:extLst>
  </p:cSld>
  <p:clrMapOvr>
    <a:masterClrMapping/>
  </p:clrMapOvr>
  <p:transition spd="med"/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9" y="6231636"/>
            <a:ext cx="5524575" cy="381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4636385"/>
      </p:ext>
    </p:extLst>
  </p:cSld>
  <p:clrMapOvr>
    <a:masterClrMapping/>
  </p:clrMapOvr>
  <p:transition spd="med"/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9" cy="5239544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2263461"/>
      </p:ext>
    </p:extLst>
  </p:cSld>
  <p:clrMapOvr>
    <a:masterClrMapping/>
  </p:clrMapOvr>
  <p:transition spd="med"/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7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92601"/>
            <a:ext cx="5049180" cy="28575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168029"/>
      </p:ext>
    </p:extLst>
  </p:cSld>
  <p:clrMapOvr>
    <a:masterClrMapping/>
  </p:clrMapOvr>
  <p:transition spd="med"/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20" y="284958"/>
            <a:ext cx="2476177" cy="5715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187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815CA4A-82C6-E038-8C80-CF4A54B1E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796" y="284957"/>
            <a:ext cx="2476177" cy="5715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187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50720930"/>
      </p:ext>
    </p:extLst>
  </p:cSld>
  <p:clrMapOvr>
    <a:masterClrMapping/>
  </p:clrMapOvr>
  <p:transition spd="med"/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979010"/>
      </p:ext>
    </p:extLst>
  </p:cSld>
  <p:clrMapOvr>
    <a:masterClrMapping/>
  </p:clrMapOvr>
  <p:transition spd="med"/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192601"/>
            <a:ext cx="8569796" cy="4095751"/>
          </a:xfrm>
        </p:spPr>
        <p:txBody>
          <a:bodyPr/>
          <a:lstStyle>
            <a:lvl1pPr>
              <a:lnSpc>
                <a:spcPct val="100000"/>
              </a:lnSpc>
              <a:defRPr sz="86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844472"/>
      </p:ext>
    </p:extLst>
  </p:cSld>
  <p:clrMapOvr>
    <a:masterClrMapping/>
  </p:clrMapOvr>
  <p:transition spd="med"/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3" cy="1429544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9D4AF5E-3E60-06F1-E3E3-F00E3ADA9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7031" y="192024"/>
            <a:ext cx="5536971" cy="42870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1989153"/>
      </p:ext>
    </p:extLst>
  </p:cSld>
  <p:clrMapOvr>
    <a:masterClrMapping/>
  </p:clrMapOvr>
  <p:transition spd="med"/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476446"/>
      </p:ext>
    </p:extLst>
  </p:cSld>
  <p:clrMapOvr>
    <a:masterClrMapping/>
  </p:clrMapOvr>
  <p:transition spd="med"/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63" y="4648200"/>
            <a:ext cx="5524575" cy="177165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9463" y="4648200"/>
            <a:ext cx="5523781" cy="177165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1B1D3B-7FD1-5342-AD21-86B27FCC1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301" y="192601"/>
            <a:ext cx="3815591" cy="314404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E2A6217-C3F0-04CD-0266-C53A5C85FD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79463" y="192601"/>
            <a:ext cx="3815591" cy="314404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7571843"/>
      </p:ext>
    </p:extLst>
  </p:cSld>
  <p:clrMapOvr>
    <a:masterClrMapping/>
  </p:clrMapOvr>
  <p:transition spd="med"/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192601"/>
            <a:ext cx="2474591" cy="95329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192600"/>
            <a:ext cx="2474591" cy="9517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1"/>
            <a:ext cx="2475384" cy="9539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1429544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50" indent="-73150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46300" indent="-73150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19451" indent="-73150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3"/>
            <a:ext cx="2475384" cy="48365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166534"/>
            <a:ext cx="2476177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166534"/>
            <a:ext cx="2476177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922137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20002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1"/>
            <a:ext cx="247073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4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47331"/>
      </p:ext>
    </p:extLst>
  </p:cSld>
  <p:clrMapOvr>
    <a:masterClrMapping/>
  </p:clrMapOvr>
  <p:transition spd="med"/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1" y="192600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192601"/>
            <a:ext cx="5523781" cy="2667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1" y="3238500"/>
            <a:ext cx="2474591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3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>
              <a:lnSpc>
                <a:spcPct val="100000"/>
              </a:lnSpc>
              <a:spcBef>
                <a:spcPts val="0"/>
              </a:spcBef>
              <a:defRPr sz="43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811417"/>
      </p:ext>
    </p:extLst>
  </p:cSld>
  <p:clrMapOvr>
    <a:masterClrMapping/>
  </p:clrMapOvr>
  <p:transition spd="med"/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0"/>
            <a:ext cx="247538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1429544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92600"/>
            <a:ext cx="380950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093977"/>
            <a:ext cx="3809504" cy="142875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01669"/>
            <a:ext cx="3809504" cy="142875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8" y="4201669"/>
            <a:ext cx="2475383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500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8790"/>
      </p:ext>
    </p:extLst>
  </p:cSld>
  <p:clrMapOvr>
    <a:masterClrMapping/>
  </p:clrMapOvr>
  <p:transition spd="med"/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03799C-055C-81A5-3E36-D78912AA6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97B3A71-6FB0-4C14-4695-68801FBBBE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5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C1273EB-3A3E-B282-A619-1D6FB102B1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0367260-BF8E-C847-2296-4EAD779F01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77821619"/>
      </p:ext>
    </p:extLst>
  </p:cSld>
  <p:clrMapOvr>
    <a:masterClrMapping/>
  </p:clrMapOvr>
  <p:transition spd="med"/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192601"/>
            <a:ext cx="2477765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38" indent="-91438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75" indent="-91438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313" indent="-91438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09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E03333F-C9F4-9C57-BAAE-A49EA523AF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3321C6-7CF8-EF30-4736-48A201B094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5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C67FA0E-EA85-0950-FCC7-3F6BF1A741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67605-D889-6D38-2F1B-DF58E809AC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7141977"/>
      </p:ext>
    </p:extLst>
  </p:cSld>
  <p:clrMapOvr>
    <a:masterClrMapping/>
  </p:clrMapOvr>
  <p:transition spd="med"/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7"/>
            <a:ext cx="2476177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67859976"/>
      </p:ext>
    </p:extLst>
  </p:cSld>
  <p:clrMapOvr>
    <a:masterClrMapping/>
  </p:clrMapOvr>
  <p:transition spd="med"/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1048544"/>
          </a:xfr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4" y="28803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3" y="28803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CEA9C7F-1CB2-B0B0-AE4C-171B0AFC6E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4D72D8-0638-1E42-6480-21D9CF7A44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6DDCC2C-4DA8-F28F-9BBF-ACD120C05B4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39509082"/>
      </p:ext>
    </p:extLst>
  </p:cSld>
  <p:clrMapOvr>
    <a:masterClrMapping/>
  </p:clrMapOvr>
  <p:transition spd="med"/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5" y="192024"/>
            <a:ext cx="2477765" cy="5707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98038E-FA9A-2E7F-DE4F-45D37F116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B3FDBEC-0A0D-82A4-F347-00CE8AD711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8780" y="1714500"/>
            <a:ext cx="509125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48453381"/>
      </p:ext>
    </p:extLst>
  </p:cSld>
  <p:clrMapOvr>
    <a:masterClrMapping/>
  </p:clrMapOvr>
  <p:transition spd="med"/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3711980" cy="9532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0" y="1714501"/>
            <a:ext cx="509125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714501"/>
            <a:ext cx="509125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63653991"/>
      </p:ext>
    </p:extLst>
  </p:cSld>
  <p:clrMapOvr>
    <a:masterClrMapping/>
  </p:clrMapOvr>
  <p:transition spd="med"/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2193" cy="2286793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3A4153E-E96A-682A-6ADB-86D8329C1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4"/>
            <a:ext cx="2481639" cy="5715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A778F7-DDE5-2F6E-F5FA-F5B0F120E0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3" y="192023"/>
            <a:ext cx="2481639" cy="571579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3204133"/>
      </p:ext>
    </p:extLst>
  </p:cSld>
  <p:clrMapOvr>
    <a:masterClrMapping/>
  </p:clrMapOvr>
  <p:transition spd="med"/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6177" cy="2286793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38C4317-85BF-2C36-29AD-9974CF6DE9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4"/>
            <a:ext cx="2481639" cy="5715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1D0A98E-CDEF-685C-25C7-E4EA3AFDCD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3" y="192023"/>
            <a:ext cx="2481639" cy="571579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336381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6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728234"/>
      </p:ext>
    </p:extLst>
  </p:cSld>
  <p:clrMapOvr>
    <a:masterClrMapping/>
  </p:clrMapOvr>
  <p:transition spd="med"/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19020" cy="2286793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401EF50-EF95-0C87-38FD-2E0B9FD3E3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1"/>
            <a:ext cx="248163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715D83-2EB0-631E-31DF-DAE49EE105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2"/>
            <a:ext cx="248163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2EE4CB5-8991-123D-EBF8-1ED34CC50F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5"/>
            <a:ext cx="2481639" cy="762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4ACB30C-F320-75FA-F4BC-8A4103FF2F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3" y="192025"/>
            <a:ext cx="2481639" cy="762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47958350"/>
      </p:ext>
    </p:extLst>
  </p:cSld>
  <p:clrMapOvr>
    <a:masterClrMapping/>
  </p:clrMapOvr>
  <p:transition spd="med"/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4591" cy="2286793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320D13A-B2E3-8109-F9A4-70AB45A14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1"/>
            <a:ext cx="248163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4BDB94-1ECF-14DA-1C2A-F289E665E0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2"/>
            <a:ext cx="2481639" cy="428624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6E55AA2-DCD0-9227-A831-24FD27E4CB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5"/>
            <a:ext cx="2481639" cy="762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8FF2718-83A0-A416-2862-0D743963623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3" y="192025"/>
            <a:ext cx="2481639" cy="76279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0369402"/>
      </p:ext>
    </p:extLst>
  </p:cSld>
  <p:clrMapOvr>
    <a:masterClrMapping/>
  </p:clrMapOvr>
  <p:transition spd="med"/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7"/>
            <a:ext cx="607997" cy="607231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3" y="288037"/>
            <a:ext cx="608843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6703E2E-EBF0-C866-7278-E844AFCB3A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D2030D9-4E2C-5A41-AC60-E9DAA791E3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473B493-1BC7-D878-AEAA-C60A2D67B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5824088"/>
      </p:ext>
    </p:extLst>
  </p:cSld>
  <p:clrMapOvr>
    <a:masterClrMapping/>
  </p:clrMapOvr>
  <p:transition spd="med"/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236977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1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E4E8AF0-4192-FB86-9702-8592B301CA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0253" y="1228296"/>
            <a:ext cx="3334903" cy="153395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5744FFC-849B-8FBD-FF73-B21942BA0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80921" y="1228297"/>
            <a:ext cx="3334903" cy="15339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0A13E8E-060C-6E01-AB11-41A2190116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001" y="4181049"/>
            <a:ext cx="3334903" cy="1533948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277838E-5792-202A-65F5-342AF0992E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88667" y="4181048"/>
            <a:ext cx="3334903" cy="1533947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8313943"/>
      </p:ext>
    </p:extLst>
  </p:cSld>
  <p:clrMapOvr>
    <a:masterClrMapping/>
  </p:clrMapOvr>
  <p:transition spd="med"/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841249"/>
            <a:ext cx="2857128" cy="1138428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0"/>
            <a:ext cx="2477765" cy="570707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FBB383F-F59D-AEC8-4D6C-AC28926B09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053B001-EDB1-FA28-FFB0-F41FF2D33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D8F0E9F-03CA-D8CD-75A1-CB650A81E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16D24DB-6F94-3A9D-70FD-B96C2E9E8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8735427"/>
      </p:ext>
    </p:extLst>
  </p:cSld>
  <p:clrMapOvr>
    <a:masterClrMapping/>
  </p:clrMapOvr>
  <p:transition spd="med"/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1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75981950"/>
      </p:ext>
    </p:extLst>
  </p:cSld>
  <p:clrMapOvr>
    <a:masterClrMapping/>
  </p:clrMapOvr>
  <p:transition spd="med"/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32141B-6D8C-ADDD-8D24-D2B3603813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DBD6A3D-FB96-6A97-1F58-F61F03D376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4BA88F-5BD8-839D-33E8-DAC02350A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3" y="3328416"/>
            <a:ext cx="2481639" cy="2667125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BCA7C7E-4E8C-6B73-007A-21635527B0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8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2840256"/>
      </p:ext>
    </p:extLst>
  </p:cSld>
  <p:clrMapOvr>
    <a:masterClrMapping/>
  </p:clrMapOvr>
  <p:transition spd="med"/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5524575" cy="2286793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340CDF-396E-8FEA-9F33-A868AEB7DE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4B77E5-DBD6-E6DD-D620-C878361A7B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83D79D-159D-684B-A0A2-E6DD61C3A5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3" y="3328416"/>
            <a:ext cx="2481639" cy="2667125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50B9EEB-A8EA-2744-D650-EC7233DAFF4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8" y="3328417"/>
            <a:ext cx="2481639" cy="2667124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51945844"/>
      </p:ext>
    </p:extLst>
  </p:cSld>
  <p:clrMapOvr>
    <a:masterClrMapping/>
  </p:clrMapOvr>
  <p:transition spd="med"/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2286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5" y="288037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9" cy="247649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73685161"/>
      </p:ext>
    </p:extLst>
  </p:cSld>
  <p:clrMapOvr>
    <a:masterClrMapping/>
  </p:clrMapOvr>
  <p:transition spd="med"/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1429544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7"/>
            <a:ext cx="201141" cy="201612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5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84E564-F094-C65E-4C30-6AD26FD6A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713706"/>
            <a:ext cx="2481639" cy="185804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384162-F420-216E-B250-BA49ED23A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713706"/>
            <a:ext cx="2481639" cy="185803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D5D50EC-56AE-CB68-AF0D-967D997C2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63186" y="3759417"/>
            <a:ext cx="2481639" cy="1860328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5DF0382-EAC2-42E6-8F3C-D78D997011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98651" y="3759418"/>
            <a:ext cx="2481639" cy="1860325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D63E7DA-FA91-79CE-F137-C4CFF42378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713704"/>
            <a:ext cx="2481639" cy="185804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3E415E0-33AF-4F69-4718-A13AF38331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32555" y="3759418"/>
            <a:ext cx="2481639" cy="1860327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1103928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3711980" cy="953295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5049180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835180"/>
      </p:ext>
    </p:extLst>
  </p:cSld>
  <p:clrMapOvr>
    <a:masterClrMapping/>
  </p:clrMapOvr>
  <p:transition spd="med"/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EB5F78-B3F7-EBA1-BE53-B96CA397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FFEAD4C-1129-22EA-9ED5-9BE409A0C7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8"/>
            <a:ext cx="2481639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719EAC-72ED-B4B5-CA48-EB23C5EB8B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C9C88E-05A2-25E3-4571-C794E968D7F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D76302BE-E896-F153-8F88-B63A433B5C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301" y="3332989"/>
            <a:ext cx="2481639" cy="2477257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FF14BC99-A0C2-45B6-C1F6-84D3EACEDF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9" cy="247649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27388930"/>
      </p:ext>
    </p:extLst>
  </p:cSld>
  <p:clrMapOvr>
    <a:masterClrMapping/>
  </p:clrMapOvr>
  <p:transition spd="med"/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1706563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A90B24-A7AA-EE26-4DF0-B0850F874C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69" y="3332989"/>
            <a:ext cx="2512743" cy="2477257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293E5F0-8E0D-8611-485C-03E54EE01C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29263" y="3332989"/>
            <a:ext cx="2512743" cy="2477255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5B5649-C746-EAC6-E506-88A5EE6297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61875" y="3350712"/>
            <a:ext cx="2512743" cy="2459529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1C336AE-32DC-6A3D-A0A5-FD3BEEE59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94676" y="3332988"/>
            <a:ext cx="2489064" cy="2477248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8F4A404-A74C-F889-564A-6677AB4E33D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04887" y="288038"/>
            <a:ext cx="2489064" cy="257254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D20BC60-A254-2972-5466-846B4E395A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5360" y="288037"/>
            <a:ext cx="2489064" cy="2572540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66060884"/>
      </p:ext>
    </p:extLst>
  </p:cSld>
  <p:clrMapOvr>
    <a:masterClrMapping/>
  </p:clrMapOvr>
  <p:transition spd="med"/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70" y="1714500"/>
            <a:ext cx="2485921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0" y="1714500"/>
            <a:ext cx="2485921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28035141"/>
      </p:ext>
    </p:extLst>
  </p:cSld>
  <p:clrMapOvr>
    <a:masterClrMapping/>
  </p:clrMapOvr>
  <p:transition spd="med"/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8" y="6452315"/>
            <a:ext cx="133833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81521-9341-A586-10B8-D3CD3EBBA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70" y="1714500"/>
            <a:ext cx="2485921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87482832"/>
      </p:ext>
    </p:extLst>
  </p:cSld>
  <p:clrMapOvr>
    <a:masterClrMapping/>
  </p:clrMapOvr>
  <p:transition spd="med"/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8" y="6452315"/>
            <a:ext cx="133833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71C2C-D5EE-B66A-FC5F-45245937D1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498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84867237"/>
      </p:ext>
    </p:extLst>
  </p:cSld>
  <p:clrMapOvr>
    <a:masterClrMapping/>
  </p:clrMapOvr>
  <p:transition spd="med"/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7" y="6452314"/>
            <a:ext cx="134653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198640143"/>
      </p:ext>
    </p:extLst>
  </p:cSld>
  <p:clrMapOvr>
    <a:masterClrMapping/>
  </p:clrMapOvr>
  <p:transition spd="med"/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7" y="6452314"/>
            <a:ext cx="134653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315121553"/>
      </p:ext>
    </p:extLst>
  </p:cSld>
  <p:clrMapOvr>
    <a:masterClrMapping/>
  </p:clrMapOvr>
  <p:transition spd="med"/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58561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09437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BD9F85F-FC85-6E91-ADD3-38F0F5BEE2E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381619" y="3058561"/>
            <a:ext cx="1163957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8FF7CC5C-A250-D817-B1E6-EBD584F08B1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381619" y="4762500"/>
            <a:ext cx="1163957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416EBE0-0E9C-366F-583C-0BE751DA2B3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81619" y="1323036"/>
            <a:ext cx="1163957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4C60C05-9B2E-E5AA-E325-3B56BC1B45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74594" y="1309438"/>
            <a:ext cx="2877873" cy="126231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379598-B132-493E-3A4A-13641BF453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74594" y="3058563"/>
            <a:ext cx="2877873" cy="123015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387A7EC-6D77-1F31-248D-AF22142944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674593" y="4762500"/>
            <a:ext cx="2921429" cy="123015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9C6738A-ED82-E7BB-C9BF-8057E77ED4B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77613" y="3072161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24967257-4251-A48B-9DE6-F07EC4EC036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377613" y="4776100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4A6B1635-0D2E-93F5-D353-C9B1B58E77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77613" y="1323036"/>
            <a:ext cx="1236501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0541A3D3-1296-6D28-80F6-210E0C8616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377614" y="3082624"/>
            <a:ext cx="1145388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EE31C9DF-6A33-F9E3-7394-0B59091621E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377614" y="4786563"/>
            <a:ext cx="1145388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CAAA857-D33B-2769-F70D-96215C29A41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6377614" y="1333500"/>
            <a:ext cx="1145388" cy="12382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412D36A-B5BE-A294-20DF-30B55A06C5A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764208" y="1333501"/>
            <a:ext cx="2921429" cy="1262313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ED900610-36FC-D7DA-7651-CC7E3D3200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764208" y="3082625"/>
            <a:ext cx="2921429" cy="123015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FEAE0F0-F94C-F405-C850-B3545368F69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764208" y="4786564"/>
            <a:ext cx="2921429" cy="1230152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96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92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88" indent="-163796" defTabSz="58062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22162804"/>
      </p:ext>
    </p:extLst>
  </p:cSld>
  <p:clrMapOvr>
    <a:masterClrMapping/>
  </p:clrMapOvr>
  <p:transition spd="med"/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4591" cy="2286793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8"/>
            <a:ext cx="8571384" cy="5715793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256774"/>
      </p:ext>
    </p:extLst>
  </p:cSld>
  <p:clrMapOvr>
    <a:masterClrMapping/>
  </p:clrMapOvr>
  <p:transition spd="med"/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062046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803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639608"/>
      </p:ext>
    </p:extLst>
  </p:cSld>
  <p:clrMapOvr>
    <a:masterClrMapping/>
  </p:clrMapOvr>
  <p:transition spd="med"/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4591" cy="763524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038129"/>
      </p:ext>
    </p:extLst>
  </p:cSld>
  <p:clrMapOvr>
    <a:masterClrMapping/>
  </p:clrMapOvr>
  <p:transition spd="med"/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5" y="6402389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20" y="284958"/>
            <a:ext cx="2476177" cy="5715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55954"/>
      </p:ext>
    </p:extLst>
  </p:cSld>
  <p:clrMapOvr>
    <a:masterClrMapping/>
  </p:clrMapOvr>
  <p:transition spd="med"/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1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624108"/>
      </p:ext>
    </p:extLst>
  </p:cSld>
  <p:clrMapOvr>
    <a:masterClrMapping/>
  </p:clrMapOvr>
  <p:transition spd="med"/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431095"/>
      </p:ext>
    </p:extLst>
  </p:cSld>
  <p:clrMapOvr>
    <a:masterClrMapping/>
  </p:clrMapOvr>
  <p:transition spd="med"/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A7F0BA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911150"/>
      </p:ext>
    </p:extLst>
  </p:cSld>
  <p:clrMapOvr>
    <a:masterClrMapping/>
  </p:clrMapOvr>
  <p:transition spd="med"/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510210"/>
      </p:ext>
    </p:extLst>
  </p:cSld>
  <p:clrMapOvr>
    <a:masterClrMapping/>
  </p:clrMapOvr>
  <p:transition spd="med"/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191194"/>
      </p:ext>
    </p:extLst>
  </p:cSld>
  <p:clrMapOvr>
    <a:masterClrMapping/>
  </p:clrMapOvr>
  <p:transition spd="med"/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149633"/>
      </p:ext>
    </p:extLst>
  </p:cSld>
  <p:clrMapOvr>
    <a:masterClrMapping/>
  </p:clrMapOvr>
  <p:transition spd="med"/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16233"/>
      </p:ext>
    </p:extLst>
  </p:cSld>
  <p:clrMapOvr>
    <a:masterClrMapping/>
  </p:clrMapOvr>
  <p:transition spd="med"/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919507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816584"/>
      </p:ext>
    </p:extLst>
  </p:cSld>
  <p:clrMapOvr>
    <a:masterClrMapping/>
  </p:clrMapOvr>
  <p:transition spd="med"/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86925"/>
      </p:ext>
    </p:extLst>
  </p:cSld>
  <p:clrMapOvr>
    <a:masterClrMapping/>
  </p:clrMapOvr>
  <p:transition spd="med"/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  <a:noFill/>
        </p:spPr>
        <p:txBody>
          <a:bodyPr/>
          <a:lstStyle>
            <a:lvl1pPr>
              <a:defRPr sz="8598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2839"/>
      </p:ext>
    </p:extLst>
  </p:cSld>
  <p:clrMapOvr>
    <a:masterClrMapping/>
  </p:clrMapOvr>
  <p:transition spd="med"/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771642"/>
      </p:ext>
    </p:extLst>
  </p:cSld>
  <p:clrMapOvr>
    <a:masterClrMapping/>
  </p:clrMapOvr>
  <p:transition spd="med"/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06063"/>
      </p:ext>
    </p:extLst>
  </p:cSld>
  <p:clrMapOvr>
    <a:masterClrMapping/>
  </p:clrMapOvr>
  <p:transition spd="med"/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160742"/>
      </p:ext>
    </p:extLst>
  </p:cSld>
  <p:clrMapOvr>
    <a:masterClrMapping/>
  </p:clrMapOvr>
  <p:transition spd="med"/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032CB1-E37D-BFF2-7ECC-E4DE4571AD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19" y="1"/>
            <a:ext cx="3060301" cy="6857999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906429"/>
      </p:ext>
    </p:extLst>
  </p:cSld>
  <p:clrMapOvr>
    <a:masterClrMapping/>
  </p:clrMapOvr>
  <p:transition spd="med"/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rgbClr val="3DDBD9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rgbClr val="3DDBD9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77277"/>
      </p:ext>
    </p:extLst>
  </p:cSld>
  <p:clrMapOvr>
    <a:masterClrMapping/>
  </p:clrMapOvr>
  <p:transition spd="med"/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5625"/>
      </p:ext>
    </p:extLst>
  </p:cSld>
  <p:clrMapOvr>
    <a:masterClrMapping/>
  </p:clrMapOvr>
  <p:transition spd="med"/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03413"/>
      </p:ext>
    </p:extLst>
  </p:cSld>
  <p:clrMapOvr>
    <a:masterClrMapping/>
  </p:clrMapOvr>
  <p:transition spd="med"/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EB9758-08C9-C315-1B93-9AD0D2620BEF}"/>
              </a:ext>
            </a:extLst>
          </p:cNvPr>
          <p:cNvSpPr/>
          <p:nvPr userDrawn="1"/>
        </p:nvSpPr>
        <p:spPr bwMode="auto">
          <a:xfrm>
            <a:off x="9142810" y="1382233"/>
            <a:ext cx="3049121" cy="5475082"/>
          </a:xfrm>
          <a:prstGeom prst="rect">
            <a:avLst/>
          </a:prstGeom>
          <a:solidFill>
            <a:srgbClr val="6FDC8C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778776-BDF7-E8E6-4E79-950B1541057E}"/>
              </a:ext>
            </a:extLst>
          </p:cNvPr>
          <p:cNvSpPr/>
          <p:nvPr userDrawn="1"/>
        </p:nvSpPr>
        <p:spPr bwMode="auto">
          <a:xfrm>
            <a:off x="6093177" y="1382233"/>
            <a:ext cx="3049121" cy="5475082"/>
          </a:xfrm>
          <a:prstGeom prst="rect">
            <a:avLst/>
          </a:prstGeom>
          <a:solidFill>
            <a:srgbClr val="A7F0BA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F3DD88-7A8A-7FBC-C353-13A0B8F6A832}"/>
              </a:ext>
            </a:extLst>
          </p:cNvPr>
          <p:cNvSpPr/>
          <p:nvPr userDrawn="1"/>
        </p:nvSpPr>
        <p:spPr bwMode="auto">
          <a:xfrm>
            <a:off x="3063292" y="1382233"/>
            <a:ext cx="3049121" cy="5475082"/>
          </a:xfrm>
          <a:prstGeom prst="rect">
            <a:avLst/>
          </a:prstGeom>
          <a:solidFill>
            <a:srgbClr val="DEFBE6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3202AB-2E2E-B9FF-5B2B-D503B0CA23B6}"/>
              </a:ext>
            </a:extLst>
          </p:cNvPr>
          <p:cNvSpPr/>
          <p:nvPr userDrawn="1"/>
        </p:nvSpPr>
        <p:spPr bwMode="auto">
          <a:xfrm>
            <a:off x="0" y="1393551"/>
            <a:ext cx="3061266" cy="5475082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525938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20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10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684510"/>
      </p:ext>
    </p:extLst>
  </p:cSld>
  <p:clrMapOvr>
    <a:masterClrMapping/>
  </p:clrMapOvr>
  <p:transition spd="med"/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883496"/>
      </p:ext>
    </p:extLst>
  </p:cSld>
  <p:clrMapOvr>
    <a:masterClrMapping/>
  </p:clrMapOvr>
  <p:transition spd="med"/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163515"/>
      </p:ext>
    </p:extLst>
  </p:cSld>
  <p:clrMapOvr>
    <a:masterClrMapping/>
  </p:clrMapOvr>
  <p:transition spd="med"/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00431"/>
      </p:ext>
    </p:extLst>
  </p:cSld>
  <p:clrMapOvr>
    <a:masterClrMapping/>
  </p:clrMapOvr>
  <p:transition spd="med"/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7F715-F99C-CC95-61F3-F548AEC0D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671053"/>
      </p:ext>
    </p:extLst>
  </p:cSld>
  <p:clrMapOvr>
    <a:masterClrMapping/>
  </p:clrMapOvr>
  <p:transition spd="med"/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672115"/>
      </p:ext>
    </p:extLst>
  </p:cSld>
  <p:clrMapOvr>
    <a:masterClrMapping/>
  </p:clrMapOvr>
  <p:transition spd="med"/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793176"/>
      </p:ext>
    </p:extLst>
  </p:cSld>
  <p:clrMapOvr>
    <a:masterClrMapping/>
  </p:clrMapOvr>
  <p:transition spd="med"/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632914"/>
      </p:ext>
    </p:extLst>
  </p:cSld>
  <p:clrMapOvr>
    <a:masterClrMapping/>
  </p:clrMapOvr>
  <p:transition spd="med"/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4233F6-20F7-2E26-93FB-27E16EDB44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22146"/>
      </p:ext>
    </p:extLst>
  </p:cSld>
  <p:clrMapOvr>
    <a:masterClrMapping/>
  </p:clrMapOvr>
  <p:transition spd="med"/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8E82705-7625-6B3A-2BAF-8E1F5D6179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336160"/>
      </p:ext>
    </p:extLst>
  </p:cSld>
  <p:clrMapOvr>
    <a:masterClrMapping/>
  </p:clrMapOvr>
  <p:transition spd="med"/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940752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8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308695"/>
      </p:ext>
    </p:extLst>
  </p:cSld>
  <p:clrMapOvr>
    <a:masterClrMapping/>
  </p:clrMapOvr>
  <p:transition spd="med"/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06157"/>
      </p:ext>
    </p:extLst>
  </p:cSld>
  <p:clrMapOvr>
    <a:masterClrMapping/>
  </p:clrMapOvr>
  <p:transition spd="med"/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FEB9FC-A5F2-8907-8DB6-1B9D18FE3D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830355"/>
      </p:ext>
    </p:extLst>
  </p:cSld>
  <p:clrMapOvr>
    <a:masterClrMapping/>
  </p:clrMapOvr>
  <p:transition spd="med"/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D2EC16-A45A-0F46-E520-900B18D4FE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731438"/>
      </p:ext>
    </p:extLst>
  </p:cSld>
  <p:clrMapOvr>
    <a:masterClrMapping/>
  </p:clrMapOvr>
  <p:transition spd="med"/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8275BC-4F7B-2C48-5FDB-2EE8E9DA8B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5761" cy="30302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288798"/>
      </p:ext>
    </p:extLst>
  </p:cSld>
  <p:clrMapOvr>
    <a:masterClrMapping/>
  </p:clrMapOvr>
  <p:transition spd="med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2D24D8-9FB6-0088-161C-EEBF707C43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5761" cy="30302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12364"/>
      </p:ext>
    </p:extLst>
  </p:cSld>
  <p:clrMapOvr>
    <a:masterClrMapping/>
  </p:clrMapOvr>
  <p:transition spd="med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2BFC7D8-C655-1741-BE48-E9A9B4629A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3061778" cy="6861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364463"/>
      </p:ext>
    </p:extLst>
  </p:cSld>
  <p:clrMapOvr>
    <a:masterClrMapping/>
  </p:clrMapOvr>
  <p:transition spd="med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561197"/>
      </p:ext>
    </p:extLst>
  </p:cSld>
  <p:clrMapOvr>
    <a:masterClrMapping/>
  </p:clrMapOvr>
  <p:transition spd="med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832158"/>
      </p:ext>
    </p:extLst>
  </p:cSld>
  <p:clrMapOvr>
    <a:masterClrMapping/>
  </p:clrMapOvr>
  <p:transition spd="med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341797"/>
      </p:ext>
    </p:extLst>
  </p:cSld>
  <p:clrMapOvr>
    <a:masterClrMapping/>
  </p:clrMapOvr>
  <p:transition spd="med"/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20990723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3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8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4" y="288037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318127"/>
      </p:ext>
    </p:extLst>
  </p:cSld>
  <p:clrMapOvr>
    <a:masterClrMapping/>
  </p:clrMapOvr>
  <p:transition spd="med"/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98305581"/>
      </p:ext>
    </p:extLst>
  </p:cSld>
  <p:clrMapOvr>
    <a:masterClrMapping/>
  </p:clrMapOvr>
  <p:transition spd="med"/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41269962"/>
      </p:ext>
    </p:extLst>
  </p:cSld>
  <p:clrMapOvr>
    <a:masterClrMapping/>
  </p:clrMapOvr>
  <p:transition spd="med"/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04128579"/>
      </p:ext>
    </p:extLst>
  </p:cSld>
  <p:clrMapOvr>
    <a:masterClrMapping/>
  </p:clrMapOvr>
  <p:transition spd="med"/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270654726"/>
      </p:ext>
    </p:extLst>
  </p:cSld>
  <p:clrMapOvr>
    <a:masterClrMapping/>
  </p:clrMapOvr>
  <p:transition spd="med"/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3971"/>
      </p:ext>
    </p:extLst>
  </p:cSld>
  <p:clrMapOvr>
    <a:masterClrMapping/>
  </p:clrMapOvr>
  <p:transition spd="med"/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219222"/>
      </p:ext>
    </p:extLst>
  </p:cSld>
  <p:clrMapOvr>
    <a:masterClrMapping/>
  </p:clrMapOvr>
  <p:transition spd="med"/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183677"/>
      </p:ext>
    </p:extLst>
  </p:cSld>
  <p:clrMapOvr>
    <a:masterClrMapping/>
  </p:clrMapOvr>
  <p:transition spd="med"/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795520"/>
      </p:ext>
    </p:extLst>
  </p:cSld>
  <p:clrMapOvr>
    <a:masterClrMapping/>
  </p:clrMapOvr>
  <p:transition spd="med"/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41564"/>
      </p:ext>
    </p:extLst>
  </p:cSld>
  <p:clrMapOvr>
    <a:masterClrMapping/>
  </p:clrMapOvr>
  <p:transition spd="med"/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444128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23697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476425"/>
      </p:ext>
    </p:extLst>
  </p:cSld>
  <p:clrMapOvr>
    <a:masterClrMapping/>
  </p:clrMapOvr>
  <p:transition spd="med"/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16EAD6B-EEB8-82C9-47CF-2371E24C7F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21213" y="0"/>
            <a:ext cx="6092826" cy="68553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2410691"/>
            <a:ext cx="2476178" cy="307051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6D689AC-68E4-344B-DA3D-E3A0846F1EB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80031" y="288036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228F804F-04E3-0A08-959F-E83BE01445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413781" y="288036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E1972E4-9EEE-C2AF-7EE1-E471E73564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13781" y="2410691"/>
            <a:ext cx="2476178" cy="307051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7981123"/>
      </p:ext>
    </p:extLst>
  </p:cSld>
  <p:clrMapOvr>
    <a:masterClrMapping/>
  </p:clrMapOvr>
  <p:transition spd="med"/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es stack,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2797A6BD-BC17-0B3B-9461-479016E9BC3B}"/>
              </a:ext>
            </a:extLst>
          </p:cNvPr>
          <p:cNvSpPr/>
          <p:nvPr userDrawn="1"/>
        </p:nvSpPr>
        <p:spPr bwMode="auto">
          <a:xfrm>
            <a:off x="6096794" y="-3612"/>
            <a:ext cx="3037513" cy="3164489"/>
          </a:xfrm>
          <a:prstGeom prst="rect">
            <a:avLst/>
          </a:prstGeom>
          <a:solidFill>
            <a:srgbClr val="E0E0E0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8AD2028-6233-9704-DA54-70D86F47889D}"/>
              </a:ext>
            </a:extLst>
          </p:cNvPr>
          <p:cNvSpPr/>
          <p:nvPr userDrawn="1"/>
        </p:nvSpPr>
        <p:spPr bwMode="auto">
          <a:xfrm>
            <a:off x="9134307" y="-3612"/>
            <a:ext cx="3068214" cy="3164489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4658FD2-9442-9CC8-6C02-114B5C17D5C6}"/>
              </a:ext>
            </a:extLst>
          </p:cNvPr>
          <p:cNvGrpSpPr/>
          <p:nvPr userDrawn="1"/>
        </p:nvGrpSpPr>
        <p:grpSpPr>
          <a:xfrm>
            <a:off x="-8935" y="3147237"/>
            <a:ext cx="12200935" cy="3723364"/>
            <a:chOff x="-17872" y="6862461"/>
            <a:chExt cx="24405047" cy="687874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8CF0C3-B357-AA41-7A28-CC3530F74099}"/>
                </a:ext>
              </a:extLst>
            </p:cNvPr>
            <p:cNvSpPr/>
            <p:nvPr userDrawn="1"/>
          </p:nvSpPr>
          <p:spPr bwMode="auto">
            <a:xfrm>
              <a:off x="12195174" y="6887661"/>
              <a:ext cx="6096863" cy="6853539"/>
            </a:xfrm>
            <a:prstGeom prst="rect">
              <a:avLst/>
            </a:prstGeom>
            <a:solidFill>
              <a:srgbClr val="DEFBE6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C76BADC-3127-54CC-7ACE-4FC7475DCA28}"/>
                </a:ext>
              </a:extLst>
            </p:cNvPr>
            <p:cNvSpPr/>
            <p:nvPr userDrawn="1"/>
          </p:nvSpPr>
          <p:spPr bwMode="auto">
            <a:xfrm>
              <a:off x="18270992" y="6887662"/>
              <a:ext cx="6116183" cy="6853539"/>
            </a:xfrm>
            <a:prstGeom prst="rect">
              <a:avLst/>
            </a:prstGeom>
            <a:solidFill>
              <a:srgbClr val="D9FBFB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9FF0912-56CC-02B1-8CD0-DC439115CCCC}"/>
                </a:ext>
              </a:extLst>
            </p:cNvPr>
            <p:cNvSpPr/>
            <p:nvPr userDrawn="1"/>
          </p:nvSpPr>
          <p:spPr bwMode="auto">
            <a:xfrm>
              <a:off x="-17872" y="6862461"/>
              <a:ext cx="6096863" cy="6853539"/>
            </a:xfrm>
            <a:prstGeom prst="rect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D80D19-CA1D-5854-5644-02BACCB57E19}"/>
                </a:ext>
              </a:extLst>
            </p:cNvPr>
            <p:cNvSpPr/>
            <p:nvPr userDrawn="1"/>
          </p:nvSpPr>
          <p:spPr bwMode="auto">
            <a:xfrm>
              <a:off x="6078991" y="6862461"/>
              <a:ext cx="6116183" cy="6853539"/>
            </a:xfrm>
            <a:prstGeom prst="rect">
              <a:avLst/>
            </a:prstGeom>
            <a:solidFill>
              <a:srgbClr val="A7F0BA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ACBA830-58CC-CC7C-B04D-CE8430E99F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31736" y="5365274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71F20B7-90A8-3AC7-D631-C6C057AF8EB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425442" y="3370947"/>
            <a:ext cx="1828562" cy="18288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6BF8372-7197-82F9-083E-F0ED0D938F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77207" y="5386056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893A513-6F32-2418-D0CB-8D3E81A4C15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70913" y="3391729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239C92B-16FD-5FFA-11E1-D1FE1B0A7C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22677" y="5365274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BFBA419D-9757-5E64-9FDB-F008A766C4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316383" y="3370947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195CDDA-0AD3-0365-3307-5026D00633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68148" y="5386056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3F50BC95-B846-E717-E507-A8AB8AFBAA2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61854" y="3391729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45E53EA-1B92-ED68-9704-4B0101CDED3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31736" y="2196771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FD90F58A-38C2-9DEB-12AE-26AF6846D9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425442" y="202444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A9D8A23-EA89-CC6A-FFBC-1335D7B043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377207" y="2217553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6EDEFFA-E165-424C-AD61-83B81E6B5AD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70913" y="223226"/>
            <a:ext cx="1828562" cy="1828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285585"/>
      </p:ext>
    </p:extLst>
  </p:cSld>
  <p:clrMapOvr>
    <a:masterClrMapping/>
  </p:clrMapOvr>
  <p:transition spd="med"/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CF6AF0C-6162-6AB6-CE56-506156477D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145F1AE-EC8C-7740-F9C4-AB51CC548A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E274F39-4C76-AFB4-63CD-A11E889B6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DA36ADD-CF15-C82D-4EB0-3213A282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3E076AA-DE4D-D491-9769-1C0AF3A9E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46F58-1100-4042-8677-CE66F94CBB2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466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363954"/>
      </p:ext>
    </p:extLst>
  </p:cSld>
  <p:clrMapOvr>
    <a:masterClrMapping/>
  </p:clrMapOvr>
  <p:transition spd="med"/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A7F0BA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35636"/>
      </p:ext>
    </p:extLst>
  </p:cSld>
  <p:clrMapOvr>
    <a:masterClrMapping/>
  </p:clrMapOvr>
  <p:transition spd="med"/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20815"/>
      </p:ext>
    </p:extLst>
  </p:cSld>
  <p:clrMapOvr>
    <a:masterClrMapping/>
  </p:clrMapOvr>
  <p:transition spd="med"/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855393"/>
      </p:ext>
    </p:extLst>
  </p:cSld>
  <p:clrMapOvr>
    <a:masterClrMapping/>
  </p:clrMapOvr>
  <p:transition spd="med"/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63257"/>
      </p:ext>
    </p:extLst>
  </p:cSld>
  <p:clrMapOvr>
    <a:masterClrMapping/>
  </p:clrMapOvr>
  <p:transition spd="med"/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12068"/>
      </p:ext>
    </p:extLst>
  </p:cSld>
  <p:clrMapOvr>
    <a:masterClrMapping/>
  </p:clrMapOvr>
  <p:transition spd="med"/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061393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756741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9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2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7"/>
            <a:ext cx="2477765" cy="570707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10391"/>
      </p:ext>
    </p:extLst>
  </p:cSld>
  <p:clrMapOvr>
    <a:masterClrMapping/>
  </p:clrMapOvr>
  <p:transition spd="med"/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0007303"/>
      </p:ext>
    </p:extLst>
  </p:cSld>
  <p:clrMapOvr>
    <a:masterClrMapping/>
  </p:clrMapOvr>
  <p:transition spd="med"/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  <a:noFill/>
        </p:spPr>
        <p:txBody>
          <a:bodyPr/>
          <a:lstStyle>
            <a:lvl1pPr>
              <a:defRPr sz="8598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2246448"/>
      </p:ext>
    </p:extLst>
  </p:cSld>
  <p:clrMapOvr>
    <a:masterClrMapping/>
  </p:clrMapOvr>
  <p:transition spd="med"/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717956"/>
      </p:ext>
    </p:extLst>
  </p:cSld>
  <p:clrMapOvr>
    <a:masterClrMapping/>
  </p:clrMapOvr>
  <p:transition spd="med"/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8753232"/>
      </p:ext>
    </p:extLst>
  </p:cSld>
  <p:clrMapOvr>
    <a:masterClrMapping/>
  </p:clrMapOvr>
  <p:transition spd="med"/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rgbClr val="24A148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4007266"/>
      </p:ext>
    </p:extLst>
  </p:cSld>
  <p:clrMapOvr>
    <a:masterClrMapping/>
  </p:clrMapOvr>
  <p:transition spd="med"/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032CB1-E37D-BFF2-7ECC-E4DE4571AD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19" y="1"/>
            <a:ext cx="3060301" cy="6857999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5861884"/>
      </p:ext>
    </p:extLst>
  </p:cSld>
  <p:clrMapOvr>
    <a:masterClrMapping/>
  </p:clrMapOvr>
  <p:transition spd="med"/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rgbClr val="3DDBD9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rgbClr val="3DDBD9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7698445"/>
      </p:ext>
    </p:extLst>
  </p:cSld>
  <p:clrMapOvr>
    <a:masterClrMapping/>
  </p:clrMapOvr>
  <p:transition spd="med"/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rgbClr val="24A148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6189059"/>
      </p:ext>
    </p:extLst>
  </p:cSld>
  <p:clrMapOvr>
    <a:masterClrMapping/>
  </p:clrMapOvr>
  <p:transition spd="med"/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9243206"/>
      </p:ext>
    </p:extLst>
  </p:cSld>
  <p:clrMapOvr>
    <a:masterClrMapping/>
  </p:clrMapOvr>
  <p:transition spd="med"/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EB9758-08C9-C315-1B93-9AD0D2620BEF}"/>
              </a:ext>
            </a:extLst>
          </p:cNvPr>
          <p:cNvSpPr/>
          <p:nvPr userDrawn="1"/>
        </p:nvSpPr>
        <p:spPr bwMode="auto">
          <a:xfrm>
            <a:off x="9142810" y="1382233"/>
            <a:ext cx="3049121" cy="5475082"/>
          </a:xfrm>
          <a:prstGeom prst="rect">
            <a:avLst/>
          </a:prstGeom>
          <a:solidFill>
            <a:srgbClr val="6FDC8C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778776-BDF7-E8E6-4E79-950B1541057E}"/>
              </a:ext>
            </a:extLst>
          </p:cNvPr>
          <p:cNvSpPr/>
          <p:nvPr userDrawn="1"/>
        </p:nvSpPr>
        <p:spPr bwMode="auto">
          <a:xfrm>
            <a:off x="6093177" y="1382233"/>
            <a:ext cx="3049121" cy="5475082"/>
          </a:xfrm>
          <a:prstGeom prst="rect">
            <a:avLst/>
          </a:prstGeom>
          <a:solidFill>
            <a:srgbClr val="A7F0BA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F3DD88-7A8A-7FBC-C353-13A0B8F6A832}"/>
              </a:ext>
            </a:extLst>
          </p:cNvPr>
          <p:cNvSpPr/>
          <p:nvPr userDrawn="1"/>
        </p:nvSpPr>
        <p:spPr bwMode="auto">
          <a:xfrm>
            <a:off x="3063292" y="1382233"/>
            <a:ext cx="3049121" cy="5475082"/>
          </a:xfrm>
          <a:prstGeom prst="rect">
            <a:avLst/>
          </a:prstGeom>
          <a:solidFill>
            <a:srgbClr val="DEFBE6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3202AB-2E2E-B9FF-5B2B-D503B0CA23B6}"/>
              </a:ext>
            </a:extLst>
          </p:cNvPr>
          <p:cNvSpPr/>
          <p:nvPr userDrawn="1"/>
        </p:nvSpPr>
        <p:spPr bwMode="auto">
          <a:xfrm>
            <a:off x="0" y="1393551"/>
            <a:ext cx="3061266" cy="5475082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6056875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7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045180"/>
      </p:ext>
    </p:extLst>
  </p:cSld>
  <p:clrMapOvr>
    <a:masterClrMapping/>
  </p:clrMapOvr>
  <p:transition spd="med"/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4103747"/>
      </p:ext>
    </p:extLst>
  </p:cSld>
  <p:clrMapOvr>
    <a:masterClrMapping/>
  </p:clrMapOvr>
  <p:transition spd="med"/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8105785"/>
      </p:ext>
    </p:extLst>
  </p:cSld>
  <p:clrMapOvr>
    <a:masterClrMapping/>
  </p:clrMapOvr>
  <p:transition spd="med"/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67819"/>
      </p:ext>
    </p:extLst>
  </p:cSld>
  <p:clrMapOvr>
    <a:masterClrMapping/>
  </p:clrMapOvr>
  <p:transition spd="med"/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7F715-F99C-CC95-61F3-F548AEC0D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337688"/>
      </p:ext>
    </p:extLst>
  </p:cSld>
  <p:clrMapOvr>
    <a:masterClrMapping/>
  </p:clrMapOvr>
  <p:transition spd="med"/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81903"/>
      </p:ext>
    </p:extLst>
  </p:cSld>
  <p:clrMapOvr>
    <a:masterClrMapping/>
  </p:clrMapOvr>
  <p:transition spd="med"/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037600"/>
      </p:ext>
    </p:extLst>
  </p:cSld>
  <p:clrMapOvr>
    <a:masterClrMapping/>
  </p:clrMapOvr>
  <p:transition spd="med"/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69976"/>
      </p:ext>
    </p:extLst>
  </p:cSld>
  <p:clrMapOvr>
    <a:masterClrMapping/>
  </p:clrMapOvr>
  <p:transition spd="med"/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4233F6-20F7-2E26-93FB-27E16EDB44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645674"/>
      </p:ext>
    </p:extLst>
  </p:cSld>
  <p:clrMapOvr>
    <a:masterClrMapping/>
  </p:clrMapOvr>
  <p:transition spd="med"/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8E82705-7625-6B3A-2BAF-8E1F5D6179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452287"/>
      </p:ext>
    </p:extLst>
  </p:cSld>
  <p:clrMapOvr>
    <a:masterClrMapping/>
  </p:clrMapOvr>
  <p:transition spd="med"/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094853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8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113779"/>
      </p:ext>
    </p:extLst>
  </p:cSld>
  <p:clrMapOvr>
    <a:masterClrMapping/>
  </p:clrMapOvr>
  <p:transition spd="med"/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591846"/>
      </p:ext>
    </p:extLst>
  </p:cSld>
  <p:clrMapOvr>
    <a:masterClrMapping/>
  </p:clrMapOvr>
  <p:transition spd="med"/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FEB9FC-A5F2-8907-8DB6-1B9D18FE3D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31147"/>
      </p:ext>
    </p:extLst>
  </p:cSld>
  <p:clrMapOvr>
    <a:masterClrMapping/>
  </p:clrMapOvr>
  <p:transition spd="med"/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D2EC16-A45A-0F46-E520-900B18D4FE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6095999" cy="6858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48542"/>
      </p:ext>
    </p:extLst>
  </p:cSld>
  <p:clrMapOvr>
    <a:masterClrMapping/>
  </p:clrMapOvr>
  <p:transition spd="med"/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8275BC-4F7B-2C48-5FDB-2EE8E9DA8B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5761" cy="30302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44635"/>
      </p:ext>
    </p:extLst>
  </p:cSld>
  <p:clrMapOvr>
    <a:masterClrMapping/>
  </p:clrMapOvr>
  <p:transition spd="med"/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2D24D8-9FB6-0088-161C-EEBF707C43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5761" cy="30302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185932"/>
      </p:ext>
    </p:extLst>
  </p:cSld>
  <p:clrMapOvr>
    <a:masterClrMapping/>
  </p:clrMapOvr>
  <p:transition spd="med"/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2BFC7D8-C655-1741-BE48-E9A9B4629A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3061778" cy="6861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487144"/>
      </p:ext>
    </p:extLst>
  </p:cSld>
  <p:clrMapOvr>
    <a:masterClrMapping/>
  </p:clrMapOvr>
  <p:transition spd="med"/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523100"/>
      </p:ext>
    </p:extLst>
  </p:cSld>
  <p:clrMapOvr>
    <a:masterClrMapping/>
  </p:clrMapOvr>
  <p:transition spd="med"/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897757"/>
      </p:ext>
    </p:extLst>
  </p:cSld>
  <p:clrMapOvr>
    <a:masterClrMapping/>
  </p:clrMapOvr>
  <p:transition spd="med"/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292066"/>
      </p:ext>
    </p:extLst>
  </p:cSld>
  <p:clrMapOvr>
    <a:masterClrMapping/>
  </p:clrMapOvr>
  <p:transition spd="med"/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752620901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181829"/>
      </p:ext>
    </p:extLst>
  </p:cSld>
  <p:clrMapOvr>
    <a:masterClrMapping/>
  </p:clrMapOvr>
  <p:transition spd="med"/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520697417"/>
      </p:ext>
    </p:extLst>
  </p:cSld>
  <p:clrMapOvr>
    <a:masterClrMapping/>
  </p:clrMapOvr>
  <p:transition spd="med"/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02274518"/>
      </p:ext>
    </p:extLst>
  </p:cSld>
  <p:clrMapOvr>
    <a:masterClrMapping/>
  </p:clrMapOvr>
  <p:transition spd="med"/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883122864"/>
      </p:ext>
    </p:extLst>
  </p:cSld>
  <p:clrMapOvr>
    <a:masterClrMapping/>
  </p:clrMapOvr>
  <p:transition spd="med"/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957908996"/>
      </p:ext>
    </p:extLst>
  </p:cSld>
  <p:clrMapOvr>
    <a:masterClrMapping/>
  </p:clrMapOvr>
  <p:transition spd="med"/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643331"/>
      </p:ext>
    </p:extLst>
  </p:cSld>
  <p:clrMapOvr>
    <a:masterClrMapping/>
  </p:clrMapOvr>
  <p:transition spd="med"/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438302"/>
      </p:ext>
    </p:extLst>
  </p:cSld>
  <p:clrMapOvr>
    <a:masterClrMapping/>
  </p:clrMapOvr>
  <p:transition spd="med"/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229584"/>
      </p:ext>
    </p:extLst>
  </p:cSld>
  <p:clrMapOvr>
    <a:masterClrMapping/>
  </p:clrMapOvr>
  <p:transition spd="med"/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310452"/>
      </p:ext>
    </p:extLst>
  </p:cSld>
  <p:clrMapOvr>
    <a:masterClrMapping/>
  </p:clrMapOvr>
  <p:transition spd="med"/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59195"/>
      </p:ext>
    </p:extLst>
  </p:cSld>
  <p:clrMapOvr>
    <a:masterClrMapping/>
  </p:clrMapOvr>
  <p:transition spd="med"/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7390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5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2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382195"/>
      </p:ext>
    </p:extLst>
  </p:cSld>
  <p:clrMapOvr>
    <a:masterClrMapping/>
  </p:clrMapOvr>
  <p:transition spd="med"/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es stack,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2797A6BD-BC17-0B3B-9461-479016E9BC3B}"/>
              </a:ext>
            </a:extLst>
          </p:cNvPr>
          <p:cNvSpPr/>
          <p:nvPr userDrawn="1"/>
        </p:nvSpPr>
        <p:spPr bwMode="auto">
          <a:xfrm>
            <a:off x="6096794" y="-3612"/>
            <a:ext cx="3037513" cy="3164489"/>
          </a:xfrm>
          <a:prstGeom prst="rect">
            <a:avLst/>
          </a:prstGeom>
          <a:solidFill>
            <a:srgbClr val="E0E0E0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8AD2028-6233-9704-DA54-70D86F47889D}"/>
              </a:ext>
            </a:extLst>
          </p:cNvPr>
          <p:cNvSpPr/>
          <p:nvPr userDrawn="1"/>
        </p:nvSpPr>
        <p:spPr bwMode="auto">
          <a:xfrm>
            <a:off x="9134307" y="-3612"/>
            <a:ext cx="3068214" cy="3164489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4658FD2-9442-9CC8-6C02-114B5C17D5C6}"/>
              </a:ext>
            </a:extLst>
          </p:cNvPr>
          <p:cNvGrpSpPr/>
          <p:nvPr userDrawn="1"/>
        </p:nvGrpSpPr>
        <p:grpSpPr>
          <a:xfrm>
            <a:off x="-8935" y="3147237"/>
            <a:ext cx="12200935" cy="3723364"/>
            <a:chOff x="-17872" y="6862461"/>
            <a:chExt cx="24405047" cy="687874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A8CF0C3-B357-AA41-7A28-CC3530F74099}"/>
                </a:ext>
              </a:extLst>
            </p:cNvPr>
            <p:cNvSpPr/>
            <p:nvPr userDrawn="1"/>
          </p:nvSpPr>
          <p:spPr bwMode="auto">
            <a:xfrm>
              <a:off x="12195174" y="6887661"/>
              <a:ext cx="6096863" cy="6853539"/>
            </a:xfrm>
            <a:prstGeom prst="rect">
              <a:avLst/>
            </a:prstGeom>
            <a:solidFill>
              <a:srgbClr val="DEFBE6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C76BADC-3127-54CC-7ACE-4FC7475DCA28}"/>
                </a:ext>
              </a:extLst>
            </p:cNvPr>
            <p:cNvSpPr/>
            <p:nvPr userDrawn="1"/>
          </p:nvSpPr>
          <p:spPr bwMode="auto">
            <a:xfrm>
              <a:off x="18270992" y="6887662"/>
              <a:ext cx="6116183" cy="6853539"/>
            </a:xfrm>
            <a:prstGeom prst="rect">
              <a:avLst/>
            </a:prstGeom>
            <a:solidFill>
              <a:srgbClr val="D9FBFB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9FF0912-56CC-02B1-8CD0-DC439115CCCC}"/>
                </a:ext>
              </a:extLst>
            </p:cNvPr>
            <p:cNvSpPr/>
            <p:nvPr userDrawn="1"/>
          </p:nvSpPr>
          <p:spPr bwMode="auto">
            <a:xfrm>
              <a:off x="-17872" y="6862461"/>
              <a:ext cx="6096863" cy="6853539"/>
            </a:xfrm>
            <a:prstGeom prst="rect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D80D19-CA1D-5854-5644-02BACCB57E19}"/>
                </a:ext>
              </a:extLst>
            </p:cNvPr>
            <p:cNvSpPr/>
            <p:nvPr userDrawn="1"/>
          </p:nvSpPr>
          <p:spPr bwMode="auto">
            <a:xfrm>
              <a:off x="6078991" y="6862461"/>
              <a:ext cx="6116183" cy="6853539"/>
            </a:xfrm>
            <a:prstGeom prst="rect">
              <a:avLst/>
            </a:prstGeom>
            <a:solidFill>
              <a:srgbClr val="A7F0BA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ACBA830-58CC-CC7C-B04D-CE8430E99F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31736" y="5365274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71F20B7-90A8-3AC7-D631-C6C057AF8EB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425442" y="3370947"/>
            <a:ext cx="1828562" cy="18288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6BF8372-7197-82F9-083E-F0ED0D938F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77207" y="5386056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893A513-6F32-2418-D0CB-8D3E81A4C15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70913" y="3391729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239C92B-16FD-5FFA-11E1-D1FE1B0A7C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22677" y="5365274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BFBA419D-9757-5E64-9FDB-F008A766C4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316383" y="3370947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195CDDA-0AD3-0365-3307-5026D00633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68148" y="5386056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3F50BC95-B846-E717-E507-A8AB8AFBAA2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61854" y="3391729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45E53EA-1B92-ED68-9704-4B0101CDED3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431736" y="2196771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FD90F58A-38C2-9DEB-12AE-26AF6846D9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425442" y="202444"/>
            <a:ext cx="1828562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A9D8A23-EA89-CC6A-FFBC-1335D7B043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377207" y="2217553"/>
            <a:ext cx="2476178" cy="68346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6EDEFFA-E165-424C-AD61-83B81E6B5AD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70913" y="223226"/>
            <a:ext cx="1828562" cy="1828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08033"/>
      </p:ext>
    </p:extLst>
  </p:cSld>
  <p:clrMapOvr>
    <a:masterClrMapping/>
  </p:clrMapOvr>
  <p:transition spd="med"/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529613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175016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726716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325695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224471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388350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875152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683618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327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666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2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4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2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4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6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103378"/>
      </p:ext>
    </p:extLst>
  </p:cSld>
  <p:clrMapOvr>
    <a:masterClrMapping/>
  </p:clrMapOvr>
  <p:transition spd="med"/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164656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106374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992626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970418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708196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994942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923263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57930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83365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2622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833274"/>
      </p:ext>
    </p:extLst>
  </p:cSld>
  <p:clrMapOvr>
    <a:masterClrMapping/>
  </p:clrMapOvr>
  <p:transition spd="med"/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37597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54769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587788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61908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24020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00159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955956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828710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1970650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7337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3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025509"/>
      </p:ext>
    </p:extLst>
  </p:cSld>
  <p:clrMapOvr>
    <a:masterClrMapping/>
  </p:clrMapOvr>
  <p:transition spd="med"/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42937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5992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887104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777358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465740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90460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918605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815416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7482923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7200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402523955"/>
      </p:ext>
    </p:extLst>
  </p:cSld>
  <p:clrMapOvr>
    <a:masterClrMapping/>
  </p:clrMapOvr>
  <p:transition spd="med"/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828631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106464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33291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1008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256A5D-0D0B-0746-8B6F-00836B89B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F48873-495C-CD43-A690-709C6922D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F30F09-65C5-664B-B053-5720ED852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6BCBF-FAC9-A34D-AD45-230FCAE4FA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987789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107" y="1358153"/>
            <a:ext cx="11592977" cy="4985770"/>
          </a:xfrm>
        </p:spPr>
        <p:txBody>
          <a:bodyPr/>
          <a:lstStyle>
            <a:lvl1pPr marL="0" indent="0">
              <a:buNone/>
              <a:defRPr b="1"/>
            </a:lvl1pPr>
            <a:lvl2pPr marL="227013" indent="-227013">
              <a:buFont typeface="Wingdings" panose="05000000000000000000" pitchFamily="2" charset="2"/>
              <a:buChar char="§"/>
              <a:defRPr/>
            </a:lvl2pPr>
            <a:lvl3pPr marL="630238" indent="-171450">
              <a:buFont typeface="Arial" panose="020B0604020202020204" pitchFamily="34" charset="0"/>
              <a:buChar char="-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747051" y="5635256"/>
            <a:ext cx="121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405FA7E-4C5C-467B-B8D7-D50AC8BF4B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2108" y="6464807"/>
            <a:ext cx="11491575" cy="379412"/>
          </a:xfrm>
        </p:spPr>
        <p:txBody>
          <a:bodyPr anchor="b"/>
          <a:lstStyle>
            <a:lvl1pPr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566281053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747051" y="5635256"/>
            <a:ext cx="121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6B8764D-6966-48CE-9573-4BC1BDAF1B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2108" y="6464807"/>
            <a:ext cx="11491575" cy="379412"/>
          </a:xfrm>
        </p:spPr>
        <p:txBody>
          <a:bodyPr anchor="b"/>
          <a:lstStyle>
            <a:lvl1pPr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66069413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C1EE52A-1CBC-AA4D-AADE-3D0D41AF1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B95C25-7188-D34D-89C2-F89965A7E8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8519" y="6355971"/>
            <a:ext cx="1835735" cy="25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416509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1AF147-45B2-6A48-A533-8933E26478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79675" y="5360256"/>
            <a:ext cx="913232" cy="14602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CE4B7F-4886-F941-B253-2E876B8286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8519" y="6355971"/>
            <a:ext cx="1835735" cy="25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885109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F65C2C5-0367-9944-AE83-9277F7C309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79675" y="5360256"/>
            <a:ext cx="913232" cy="14602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B19735-6869-2941-9810-2B1469DF531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8519" y="6355971"/>
            <a:ext cx="1835735" cy="25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05398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294232980"/>
      </p:ext>
    </p:extLst>
  </p:cSld>
  <p:clrMapOvr>
    <a:masterClrMapping/>
  </p:clrMapOvr>
  <p:transition spd="med"/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2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BM Consulting / DOC ID / 2024 / © 2024 IBM Corpor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B51E2D-D463-9F48-8ABF-719541ACA1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8519" y="6051170"/>
            <a:ext cx="1835735" cy="252856"/>
          </a:xfrm>
          <a:prstGeom prst="rect">
            <a:avLst/>
          </a:prstGeom>
        </p:spPr>
      </p:pic>
      <p:pic>
        <p:nvPicPr>
          <p:cNvPr id="12" name="Picture">
            <a:extLst>
              <a:ext uri="{FF2B5EF4-FFF2-40B4-BE49-F238E27FC236}">
                <a16:creationId xmlns:a16="http://schemas.microsoft.com/office/drawing/2014/main" id="{FB0DC53E-98CE-B848-B964-4903DA45F0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871800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A1397B-55BC-E147-B620-9642E50C6B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8519" y="6355971"/>
            <a:ext cx="1835735" cy="252856"/>
          </a:xfrm>
          <a:prstGeom prst="rect">
            <a:avLst/>
          </a:prstGeom>
        </p:spPr>
      </p:pic>
      <p:pic>
        <p:nvPicPr>
          <p:cNvPr id="11" name="Picture">
            <a:extLst>
              <a:ext uri="{FF2B5EF4-FFF2-40B4-BE49-F238E27FC236}">
                <a16:creationId xmlns:a16="http://schemas.microsoft.com/office/drawing/2014/main" id="{BE8EDCBC-DC1B-5B4D-9932-9CD61C1422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91753" y="6273672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383814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004186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rgbClr val="002D9C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rgbClr val="002D9C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rgbClr val="002D9C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rgbClr val="002D9C"/>
                </a:solidFill>
              </a:defRPr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947100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rgbClr val="002D9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062919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701412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392218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7416713" cy="5726176"/>
          </a:xfrm>
        </p:spPr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279600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49553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5146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3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447265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8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191801954"/>
      </p:ext>
    </p:extLst>
  </p:cSld>
  <p:clrMapOvr>
    <a:masterClrMapping/>
  </p:clrMapOvr>
  <p:transition spd="med"/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360866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965994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265089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412867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235303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794402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97017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72E784-2E30-05D1-D200-244F5092406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March 30, 2022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998581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0357965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2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5026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342620404"/>
      </p:ext>
    </p:extLst>
  </p:cSld>
  <p:clrMapOvr>
    <a:masterClrMapping/>
  </p:clrMapOvr>
  <p:transition spd="med"/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011171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285016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807183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749693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832953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0D98217D-470A-C45F-075B-4F4512A4FF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Consulting / March 30, 2022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22858286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045539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09525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583944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9053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76912319"/>
      </p:ext>
    </p:extLst>
  </p:cSld>
  <p:clrMapOvr>
    <a:masterClrMapping/>
  </p:clrMapOvr>
  <p:transition spd="med"/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8078032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39183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red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E30253-DA74-3E44-9BC6-8B5C1DD66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005647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yellow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5EEBA7C-F498-524A-9427-6358C4846A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35472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red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AF54E53-3A23-9A4B-B6FC-E1BD369164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3972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teal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C727A0-1A17-074E-8354-E327AC2DBC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381238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grey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835D96-8926-B845-B252-0835183F21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994944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red40)">
    <p:bg>
      <p:bgPr>
        <a:solidFill>
          <a:srgbClr val="FF83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0141" y="1772663"/>
            <a:ext cx="2055963" cy="328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701305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yellow20)">
    <p:bg>
      <p:bgPr>
        <a:solidFill>
          <a:srgbClr val="FDDC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0141" y="1772663"/>
            <a:ext cx="2055963" cy="328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2455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red20)">
    <p:bg>
      <p:bgPr>
        <a:solidFill>
          <a:srgbClr val="FFD7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0141" y="1772663"/>
            <a:ext cx="2055963" cy="328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9630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9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9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9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7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8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7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8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7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8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60638"/>
      </p:ext>
    </p:extLst>
  </p:cSld>
  <p:clrMapOvr>
    <a:masterClrMapping/>
  </p:clrMapOvr>
  <p:transition spd="med"/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teal40)">
    <p:bg>
      <p:bgPr>
        <a:solidFill>
          <a:srgbClr val="08BD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0141" y="1772663"/>
            <a:ext cx="2055963" cy="328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360541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grey20)">
    <p:bg>
      <p:bgPr>
        <a:solidFill>
          <a:srgbClr val="E0E0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0141" y="1772663"/>
            <a:ext cx="2055963" cy="328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630497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2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880853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bm sign-off (blue60)">
    <p:bg>
      <p:bgPr>
        <a:solidFill>
          <a:srgbClr val="BAE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">
            <a:extLst>
              <a:ext uri="{FF2B5EF4-FFF2-40B4-BE49-F238E27FC236}">
                <a16:creationId xmlns:a16="http://schemas.microsoft.com/office/drawing/2014/main" id="{84C5BA58-3252-EE40-9CFE-7EA0CFC34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2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896737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31" y="3083848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075317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613617"/>
      </p:ext>
    </p:extLst>
  </p:cSld>
  <p:clrMapOvr>
    <a:masterClrMapping/>
  </p:clrMapOvr>
  <p:transition spd="med"/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467031"/>
      </p:ext>
    </p:extLst>
  </p:cSld>
  <p:clrMapOvr>
    <a:masterClrMapping/>
  </p:clrMapOvr>
  <p:transition spd="med"/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250884"/>
      </p:ext>
    </p:extLst>
  </p:cSld>
  <p:clrMapOvr>
    <a:masterClrMapping/>
  </p:clrMapOvr>
  <p:transition spd="med"/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33341"/>
      </p:ext>
    </p:extLst>
  </p:cSld>
  <p:clrMapOvr>
    <a:masterClrMapping/>
  </p:clrMapOvr>
  <p:transition spd="med"/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785923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8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124536"/>
      </p:ext>
    </p:extLst>
  </p:cSld>
  <p:clrMapOvr>
    <a:masterClrMapping/>
  </p:clrMapOvr>
  <p:transition spd="med"/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81841"/>
      </p:ext>
    </p:extLst>
  </p:cSld>
  <p:clrMapOvr>
    <a:masterClrMapping/>
  </p:clrMapOvr>
  <p:transition spd="med"/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293345"/>
      </p:ext>
    </p:extLst>
  </p:cSld>
  <p:clrMapOvr>
    <a:masterClrMapping/>
  </p:clrMapOvr>
  <p:transition spd="med"/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4242"/>
      </p:ext>
    </p:extLst>
  </p:cSld>
  <p:clrMapOvr>
    <a:masterClrMapping/>
  </p:clrMapOvr>
  <p:transition spd="med"/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182943"/>
      </p:ext>
    </p:extLst>
  </p:cSld>
  <p:clrMapOvr>
    <a:masterClrMapping/>
  </p:clrMapOvr>
  <p:transition spd="med"/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207565"/>
      </p:ext>
    </p:extLst>
  </p:cSld>
  <p:clrMapOvr>
    <a:masterClrMapping/>
  </p:clrMapOvr>
  <p:transition spd="med"/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854357"/>
      </p:ext>
    </p:extLst>
  </p:cSld>
  <p:clrMapOvr>
    <a:masterClrMapping/>
  </p:clrMapOvr>
  <p:transition spd="med"/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951118"/>
      </p:ext>
    </p:extLst>
  </p:cSld>
  <p:clrMapOvr>
    <a:masterClrMapping/>
  </p:clrMapOvr>
  <p:transition spd="med"/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3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059053"/>
      </p:ext>
    </p:extLst>
  </p:cSld>
  <p:clrMapOvr>
    <a:masterClrMapping/>
  </p:clrMapOvr>
  <p:transition spd="med"/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038535"/>
      </p:ext>
    </p:extLst>
  </p:cSld>
  <p:clrMapOvr>
    <a:masterClrMapping/>
  </p:clrMapOvr>
  <p:transition spd="med"/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733845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015519"/>
      </p:ext>
    </p:extLst>
  </p:cSld>
  <p:clrMapOvr>
    <a:masterClrMapping/>
  </p:clrMapOvr>
  <p:transition spd="med"/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42838"/>
      </p:ext>
    </p:extLst>
  </p:cSld>
  <p:clrMapOvr>
    <a:masterClrMapping/>
  </p:clrMapOvr>
  <p:transition spd="med"/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07617"/>
      </p:ext>
    </p:extLst>
  </p:cSld>
  <p:clrMapOvr>
    <a:masterClrMapping/>
  </p:clrMapOvr>
  <p:transition spd="med"/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48281"/>
      </p:ext>
    </p:extLst>
  </p:cSld>
  <p:clrMapOvr>
    <a:masterClrMapping/>
  </p:clrMapOvr>
  <p:transition spd="med"/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362195"/>
      </p:ext>
    </p:extLst>
  </p:cSld>
  <p:clrMapOvr>
    <a:masterClrMapping/>
  </p:clrMapOvr>
  <p:transition spd="med"/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07230"/>
      </p:ext>
    </p:extLst>
  </p:cSld>
  <p:clrMapOvr>
    <a:masterClrMapping/>
  </p:clrMapOvr>
  <p:transition spd="med"/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079815"/>
      </p:ext>
    </p:extLst>
  </p:cSld>
  <p:clrMapOvr>
    <a:masterClrMapping/>
  </p:clrMapOvr>
  <p:transition spd="med"/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702923"/>
      </p:ext>
    </p:extLst>
  </p:cSld>
  <p:clrMapOvr>
    <a:masterClrMapping/>
  </p:clrMapOvr>
  <p:transition spd="med"/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975113"/>
      </p:ext>
    </p:extLst>
  </p:cSld>
  <p:clrMapOvr>
    <a:masterClrMapping/>
  </p:clrMapOvr>
  <p:transition spd="med"/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715502"/>
      </p:ext>
    </p:extLst>
  </p:cSld>
  <p:clrMapOvr>
    <a:masterClrMapping/>
  </p:clrMapOvr>
  <p:transition spd="med"/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559654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18521"/>
      </p:ext>
    </p:extLst>
  </p:cSld>
  <p:clrMapOvr>
    <a:masterClrMapping/>
  </p:clrMapOvr>
  <p:transition spd="med"/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497804"/>
      </p:ext>
    </p:extLst>
  </p:cSld>
  <p:clrMapOvr>
    <a:masterClrMapping/>
  </p:clrMapOvr>
  <p:transition spd="med"/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027163"/>
      </p:ext>
    </p:extLst>
  </p:cSld>
  <p:clrMapOvr>
    <a:masterClrMapping/>
  </p:clrMapOvr>
  <p:transition spd="med"/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40574"/>
      </p:ext>
    </p:extLst>
  </p:cSld>
  <p:clrMapOvr>
    <a:masterClrMapping/>
  </p:clrMapOvr>
  <p:transition spd="med"/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570671"/>
      </p:ext>
    </p:extLst>
  </p:cSld>
  <p:clrMapOvr>
    <a:masterClrMapping/>
  </p:clrMapOvr>
  <p:transition spd="med"/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473139"/>
      </p:ext>
    </p:extLst>
  </p:cSld>
  <p:clrMapOvr>
    <a:masterClrMapping/>
  </p:clrMapOvr>
  <p:transition spd="med"/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766742"/>
      </p:ext>
    </p:extLst>
  </p:cSld>
  <p:clrMapOvr>
    <a:masterClrMapping/>
  </p:clrMapOvr>
  <p:transition spd="med"/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901133"/>
      </p:ext>
    </p:extLst>
  </p:cSld>
  <p:clrMapOvr>
    <a:masterClrMapping/>
  </p:clrMapOvr>
  <p:transition spd="med"/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643670"/>
      </p:ext>
    </p:extLst>
  </p:cSld>
  <p:clrMapOvr>
    <a:masterClrMapping/>
  </p:clrMapOvr>
  <p:transition spd="med"/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733199"/>
      </p:ext>
    </p:extLst>
  </p:cSld>
  <p:clrMapOvr>
    <a:masterClrMapping/>
  </p:clrMapOvr>
  <p:transition spd="med"/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939677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6" y="6402389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302339"/>
      </p:ext>
    </p:extLst>
  </p:cSld>
  <p:clrMapOvr>
    <a:masterClrMapping/>
  </p:clrMapOvr>
  <p:transition spd="med"/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628387615"/>
      </p:ext>
    </p:extLst>
  </p:cSld>
  <p:clrMapOvr>
    <a:masterClrMapping/>
  </p:clrMapOvr>
  <p:transition spd="med"/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361341735"/>
      </p:ext>
    </p:extLst>
  </p:cSld>
  <p:clrMapOvr>
    <a:masterClrMapping/>
  </p:clrMapOvr>
  <p:transition spd="med"/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5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864020505"/>
      </p:ext>
    </p:extLst>
  </p:cSld>
  <p:clrMapOvr>
    <a:masterClrMapping/>
  </p:clrMapOvr>
  <p:transition spd="med"/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757144539"/>
      </p:ext>
    </p:extLst>
  </p:cSld>
  <p:clrMapOvr>
    <a:masterClrMapping/>
  </p:clrMapOvr>
  <p:transition spd="med"/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965600373"/>
      </p:ext>
    </p:extLst>
  </p:cSld>
  <p:clrMapOvr>
    <a:masterClrMapping/>
  </p:clrMapOvr>
  <p:transition spd="med"/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21507"/>
      </p:ext>
    </p:extLst>
  </p:cSld>
  <p:clrMapOvr>
    <a:masterClrMapping/>
  </p:clrMapOvr>
  <p:transition spd="med"/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630726"/>
      </p:ext>
    </p:extLst>
  </p:cSld>
  <p:clrMapOvr>
    <a:masterClrMapping/>
  </p:clrMapOvr>
  <p:transition spd="med"/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06382"/>
      </p:ext>
    </p:extLst>
  </p:cSld>
  <p:clrMapOvr>
    <a:masterClrMapping/>
  </p:clrMapOvr>
  <p:transition spd="med"/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42879"/>
      </p:ext>
    </p:extLst>
  </p:cSld>
  <p:clrMapOvr>
    <a:masterClrMapping/>
  </p:clrMapOvr>
  <p:transition spd="med"/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451029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6" y="3084232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469088"/>
      </p:ext>
    </p:extLst>
  </p:cSld>
  <p:clrMapOvr>
    <a:masterClrMapping/>
  </p:clrMapOvr>
  <p:transition spd="med"/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461216"/>
      </p:ext>
    </p:extLst>
  </p:cSld>
  <p:clrMapOvr>
    <a:masterClrMapping/>
  </p:clrMapOvr>
  <p:transition spd="med"/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69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0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02817298"/>
      </p:ext>
    </p:extLst>
  </p:cSld>
  <p:clrMapOvr>
    <a:masterClrMapping/>
  </p:clrMapOvr>
  <p:transition spd="med"/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idx="21"/>
          </p:nvPr>
        </p:nvSpPr>
        <p:spPr>
          <a:xfrm>
            <a:off x="1" y="1"/>
            <a:ext cx="12193588" cy="60007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288037" y="192025"/>
            <a:ext cx="5525295" cy="3144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6044185"/>
            <a:ext cx="2468944" cy="5715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335751" y="6042371"/>
            <a:ext cx="2468944" cy="571500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defRPr sz="2800"/>
            </a:pPr>
            <a:endParaRPr/>
          </a:p>
        </p:txBody>
      </p:sp>
      <p:pic>
        <p:nvPicPr>
          <p:cNvPr id="15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9977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1830275"/>
      </p:ext>
    </p:extLst>
  </p:cSld>
  <p:clrMapOvr>
    <a:masterClrMapping/>
  </p:clrMapOvr>
  <p:transition spd="med"/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"/>
          <p:cNvSpPr/>
          <p:nvPr/>
        </p:nvSpPr>
        <p:spPr>
          <a:xfrm>
            <a:off x="0" y="1"/>
            <a:ext cx="12193587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</a:ln>
        </p:spPr>
        <p:txBody>
          <a:bodyPr tIns="45720" bIns="45720"/>
          <a:lstStyle/>
          <a:p>
            <a:pPr defTabSz="457189">
              <a:defRPr sz="1400"/>
            </a:pPr>
            <a:endParaRPr sz="700"/>
          </a:p>
        </p:txBody>
      </p:sp>
      <p:sp>
        <p:nvSpPr>
          <p:cNvPr id="24" name="Title Text"/>
          <p:cNvSpPr txBox="1">
            <a:spLocks noGrp="1"/>
          </p:cNvSpPr>
          <p:nvPr>
            <p:ph type="title"/>
          </p:nvPr>
        </p:nvSpPr>
        <p:spPr>
          <a:xfrm>
            <a:off x="288037" y="192025"/>
            <a:ext cx="5525295" cy="3144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2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6044185"/>
            <a:ext cx="2468944" cy="5715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3335751" y="6042371"/>
            <a:ext cx="2468944" cy="571500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defRPr sz="2800"/>
            </a:pPr>
            <a:endParaRPr/>
          </a:p>
        </p:txBody>
      </p:sp>
      <p:pic>
        <p:nvPicPr>
          <p:cNvPr id="27" name="Picture 3" descr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9977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7340596"/>
      </p:ext>
    </p:extLst>
  </p:cSld>
  <p:clrMapOvr>
    <a:masterClrMapping/>
  </p:clrMapOvr>
  <p:transition spd="med"/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Text"/>
          <p:cNvSpPr txBox="1">
            <a:spLocks noGrp="1"/>
          </p:cNvSpPr>
          <p:nvPr>
            <p:ph type="title"/>
          </p:nvPr>
        </p:nvSpPr>
        <p:spPr>
          <a:xfrm>
            <a:off x="288037" y="192025"/>
            <a:ext cx="5525295" cy="3144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pic>
        <p:nvPicPr>
          <p:cNvPr id="36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9977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1250410"/>
      </p:ext>
    </p:extLst>
  </p:cSld>
  <p:clrMapOvr>
    <a:masterClrMapping/>
  </p:clrMapOvr>
  <p:transition spd="med"/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Text"/>
          <p:cNvSpPr txBox="1">
            <a:spLocks noGrp="1"/>
          </p:cNvSpPr>
          <p:nvPr>
            <p:ph type="title"/>
          </p:nvPr>
        </p:nvSpPr>
        <p:spPr>
          <a:xfrm>
            <a:off x="288037" y="192025"/>
            <a:ext cx="5525295" cy="3144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7" y="6231636"/>
            <a:ext cx="5525295" cy="381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92601" indent="-128013">
              <a:defRPr sz="1400"/>
            </a:lvl3pPr>
            <a:lvl4pPr marL="457189" indent="-128013">
              <a:defRPr sz="1400"/>
            </a:lvl4pPr>
            <a:lvl5pPr marL="520687" indent="-177796"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46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9977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6072103"/>
      </p:ext>
    </p:extLst>
  </p:cSld>
  <p:clrMapOvr>
    <a:masterClrMapping/>
  </p:clrMapOvr>
  <p:transition spd="med"/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288036" y="192024"/>
            <a:ext cx="5050536" cy="523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55" name="Picture Placeholder 6"/>
          <p:cNvSpPr>
            <a:spLocks noGrp="1"/>
          </p:cNvSpPr>
          <p:nvPr>
            <p:ph type="pic" idx="21"/>
          </p:nvPr>
        </p:nvSpPr>
        <p:spPr>
          <a:xfrm>
            <a:off x="6381751" y="284957"/>
            <a:ext cx="5524500" cy="6287295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pic>
        <p:nvPicPr>
          <p:cNvPr id="56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925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6288495"/>
      </p:ext>
    </p:extLst>
  </p:cSld>
  <p:clrMapOvr>
    <a:masterClrMapping/>
  </p:clrMapOvr>
  <p:transition spd="med"/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7" y="288036"/>
            <a:ext cx="5049839" cy="2857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92601" indent="-128013">
              <a:defRPr sz="1400"/>
            </a:lvl3pPr>
            <a:lvl4pPr marL="457189" indent="-128013">
              <a:defRPr sz="1400"/>
            </a:lvl4pPr>
            <a:lvl5pPr marL="520687" indent="-177796"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5" name="Title Text"/>
          <p:cNvSpPr txBox="1">
            <a:spLocks noGrp="1"/>
          </p:cNvSpPr>
          <p:nvPr>
            <p:ph type="title"/>
          </p:nvPr>
        </p:nvSpPr>
        <p:spPr>
          <a:xfrm>
            <a:off x="288037" y="763523"/>
            <a:ext cx="5049839" cy="46688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66" name="Picture Placeholder 6"/>
          <p:cNvSpPr>
            <a:spLocks noGrp="1"/>
          </p:cNvSpPr>
          <p:nvPr>
            <p:ph type="pic" idx="21"/>
          </p:nvPr>
        </p:nvSpPr>
        <p:spPr>
          <a:xfrm>
            <a:off x="6381751" y="284957"/>
            <a:ext cx="5524500" cy="6287295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pic>
        <p:nvPicPr>
          <p:cNvPr id="67" name="Picture 3" descr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925" y="6263483"/>
            <a:ext cx="819151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8371211"/>
      </p:ext>
    </p:extLst>
  </p:cSld>
  <p:clrMapOvr>
    <a:masterClrMapping/>
  </p:clrMapOvr>
  <p:transition spd="med"/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Text"/>
          <p:cNvSpPr txBox="1">
            <a:spLocks noGrp="1"/>
          </p:cNvSpPr>
          <p:nvPr>
            <p:ph type="title"/>
          </p:nvPr>
        </p:nvSpPr>
        <p:spPr>
          <a:xfrm>
            <a:off x="288036" y="192024"/>
            <a:ext cx="2478088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7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4956"/>
            <a:ext cx="2476500" cy="5715795"/>
          </a:xfrm>
          <a:prstGeom prst="rect">
            <a:avLst/>
          </a:prstGeom>
        </p:spPr>
        <p:txBody>
          <a:bodyPr>
            <a:normAutofit/>
          </a:bodyPr>
          <a:lstStyle>
            <a:lvl1pPr defTabSz="580629"/>
            <a:lvl2pPr defTabSz="580629"/>
            <a:lvl3pPr defTabSz="580629"/>
            <a:lvl4pPr defTabSz="580629"/>
            <a:lvl5pPr defTabSz="580629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9431339" y="284956"/>
            <a:ext cx="2474912" cy="5715795"/>
          </a:xfrm>
          <a:prstGeom prst="rect">
            <a:avLst/>
          </a:prstGeom>
        </p:spPr>
        <p:txBody>
          <a:bodyPr>
            <a:normAutofit/>
          </a:bodyPr>
          <a:lstStyle>
            <a:lvl1pPr defTabSz="1548345">
              <a:defRPr/>
            </a:lvl1pPr>
          </a:lstStyle>
          <a:p>
            <a:pPr defTabSz="1161288"/>
            <a:endParaRPr/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4796237"/>
      </p:ext>
    </p:extLst>
  </p:cSld>
  <p:clrMapOvr>
    <a:masterClrMapping/>
  </p:clrMapOvr>
  <p:transition spd="med"/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itle Text"/>
          <p:cNvSpPr txBox="1">
            <a:spLocks noGrp="1"/>
          </p:cNvSpPr>
          <p:nvPr>
            <p:ph type="title"/>
          </p:nvPr>
        </p:nvSpPr>
        <p:spPr>
          <a:xfrm>
            <a:off x="287337" y="210313"/>
            <a:ext cx="8570912" cy="40957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600">
                <a:latin typeface="IBM Plex Sans ExtLt"/>
                <a:ea typeface="IBM Plex Sans ExtLt"/>
                <a:cs typeface="IBM Plex Sans ExtLt"/>
                <a:sym typeface="IBM Plex Sans ExtLt"/>
              </a:defRPr>
            </a:lvl1pPr>
          </a:lstStyle>
          <a:p>
            <a:r>
              <a:t>Title Text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3296049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005719"/>
      </p:ext>
    </p:extLst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Text"/>
          <p:cNvSpPr txBox="1">
            <a:spLocks noGrp="1"/>
          </p:cNvSpPr>
          <p:nvPr>
            <p:ph type="title"/>
          </p:nvPr>
        </p:nvSpPr>
        <p:spPr>
          <a:xfrm>
            <a:off x="288037" y="192024"/>
            <a:ext cx="4954588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10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383626" y="224029"/>
            <a:ext cx="5521037" cy="4287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/>
            </a:lvl1pPr>
            <a:lvl2pPr marL="292601" indent="-292601">
              <a:lnSpc>
                <a:spcPct val="100000"/>
              </a:lnSpc>
              <a:defRPr sz="3200"/>
            </a:lvl2pPr>
            <a:lvl3pPr marL="548626" indent="-292601">
              <a:lnSpc>
                <a:spcPct val="100000"/>
              </a:lnSpc>
              <a:defRPr sz="3200"/>
            </a:lvl3pPr>
            <a:lvl4pPr marL="877802">
              <a:lnSpc>
                <a:spcPct val="100000"/>
              </a:lnSpc>
              <a:defRPr sz="3200"/>
            </a:lvl4pPr>
            <a:lvl5pPr>
              <a:lnSpc>
                <a:spcPct val="100000"/>
              </a:lnSpc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8336599"/>
      </p:ext>
    </p:extLst>
  </p:cSld>
  <p:clrMapOvr>
    <a:masterClrMapping/>
  </p:clrMapOvr>
  <p:transition spd="med"/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itle Text"/>
          <p:cNvSpPr txBox="1">
            <a:spLocks noGrp="1"/>
          </p:cNvSpPr>
          <p:nvPr>
            <p:ph type="title"/>
          </p:nvPr>
        </p:nvSpPr>
        <p:spPr>
          <a:xfrm>
            <a:off x="288037" y="210312"/>
            <a:ext cx="7331076" cy="4858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</a:lstStyle>
          <a:p>
            <a:r>
              <a:t>Title Text</a:t>
            </a:r>
          </a:p>
        </p:txBody>
      </p:sp>
      <p:sp>
        <p:nvSpPr>
          <p:cNvPr id="1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7075897"/>
      </p:ext>
    </p:extLst>
  </p:cSld>
  <p:clrMapOvr>
    <a:masterClrMapping/>
  </p:clrMapOvr>
  <p:transition spd="med"/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7" y="288037"/>
            <a:ext cx="3811588" cy="31440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200"/>
            </a:lvl1pPr>
            <a:lvl2pPr marL="201163" indent="-201163">
              <a:lnSpc>
                <a:spcPct val="100000"/>
              </a:lnSpc>
              <a:defRPr sz="2200"/>
            </a:lvl2pPr>
            <a:lvl3pPr marL="402326" indent="-201163">
              <a:lnSpc>
                <a:spcPct val="100000"/>
              </a:lnSpc>
              <a:defRPr sz="2200"/>
            </a:lvl3pPr>
            <a:lvl4pPr marL="557770" indent="-201163">
              <a:lnSpc>
                <a:spcPct val="100000"/>
              </a:lnSpc>
              <a:defRPr sz="2200"/>
            </a:lvl4pPr>
            <a:lvl5pPr>
              <a:lnSpc>
                <a:spcPct val="100000"/>
              </a:lnSpc>
              <a:defRPr sz="2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288037" y="4649724"/>
            <a:ext cx="5525295" cy="1771651"/>
          </a:xfrm>
          <a:prstGeom prst="rect">
            <a:avLst/>
          </a:prstGeom>
        </p:spPr>
        <p:txBody>
          <a:bodyPr anchor="b">
            <a:normAutofit/>
          </a:bodyPr>
          <a:lstStyle>
            <a:lvl1pPr defTabSz="938761">
              <a:lnSpc>
                <a:spcPct val="90000"/>
              </a:lnSpc>
              <a:defRPr sz="9932">
                <a:solidFill>
                  <a:schemeClr val="accent1"/>
                </a:solidFill>
                <a:latin typeface="IBM Plex Sans ExtLt"/>
                <a:ea typeface="IBM Plex Sans ExtLt"/>
                <a:cs typeface="IBM Plex Sans ExtLt"/>
                <a:sym typeface="IBM Plex Sans ExtLt"/>
              </a:defRPr>
            </a:lvl1pPr>
          </a:lstStyle>
          <a:p>
            <a:r>
              <a:t>↗︎00M</a:t>
            </a:r>
          </a:p>
        </p:txBody>
      </p:sp>
      <p:sp>
        <p:nvSpPr>
          <p:cNvPr id="120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81751" y="288037"/>
            <a:ext cx="3810000" cy="31440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4400"/>
            </a:pPr>
            <a:endParaRPr/>
          </a:p>
        </p:txBody>
      </p:sp>
      <p:sp>
        <p:nvSpPr>
          <p:cNvPr id="12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6381751" y="4648200"/>
            <a:ext cx="5524500" cy="1771651"/>
          </a:xfrm>
          <a:prstGeom prst="rect">
            <a:avLst/>
          </a:prstGeom>
        </p:spPr>
        <p:txBody>
          <a:bodyPr anchor="b">
            <a:normAutofit/>
          </a:bodyPr>
          <a:lstStyle>
            <a:lvl1pPr defTabSz="1097253">
              <a:lnSpc>
                <a:spcPct val="90000"/>
              </a:lnSpc>
              <a:defRPr sz="11610">
                <a:solidFill>
                  <a:schemeClr val="accent1"/>
                </a:solidFill>
                <a:latin typeface="IBM Plex Sans ExtLt"/>
                <a:ea typeface="IBM Plex Sans ExtLt"/>
                <a:cs typeface="IBM Plex Sans ExtLt"/>
                <a:sym typeface="IBM Plex Sans ExtLt"/>
              </a:defRPr>
            </a:lvl1pPr>
          </a:lstStyle>
          <a:p>
            <a:r>
              <a:t>+00%</a:t>
            </a:r>
          </a:p>
        </p:txBody>
      </p:sp>
      <p:sp>
        <p:nvSpPr>
          <p:cNvPr id="12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9814303"/>
      </p:ext>
    </p:extLst>
  </p:cSld>
  <p:clrMapOvr>
    <a:masterClrMapping/>
  </p:clrMapOvr>
  <p:transition spd="med"/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13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333751" y="214885"/>
            <a:ext cx="2475707" cy="9539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SzTx/>
              <a:buNone/>
              <a:defRPr sz="6500">
                <a:solidFill>
                  <a:schemeClr val="accent1"/>
                </a:solidFill>
              </a:defRPr>
            </a:lvl2pPr>
            <a:lvl3pPr marL="758933" indent="-594345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3pPr>
            <a:lvl4pPr marL="923521" indent="-594345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4pPr>
            <a:lvl5pPr marL="1168371" indent="-825479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5pPr>
          </a:lstStyle>
          <a:p>
            <a:r>
              <a:t>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3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33751" y="1166535"/>
            <a:ext cx="2475707" cy="483652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2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6384133" y="213241"/>
            <a:ext cx="2474913" cy="953295"/>
          </a:xfrm>
          <a:prstGeom prst="rect">
            <a:avLst/>
          </a:prstGeom>
        </p:spPr>
        <p:txBody>
          <a:bodyPr>
            <a:normAutofit/>
          </a:bodyPr>
          <a:lstStyle>
            <a:lvl1pPr defTabSz="1072869">
              <a:lnSpc>
                <a:spcPct val="90000"/>
              </a:lnSpc>
              <a:defRPr sz="572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3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81751" y="1167327"/>
            <a:ext cx="2476500" cy="483342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4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9429751" y="214827"/>
            <a:ext cx="2474912" cy="951708"/>
          </a:xfrm>
          <a:prstGeom prst="rect">
            <a:avLst/>
          </a:prstGeom>
        </p:spPr>
        <p:txBody>
          <a:bodyPr>
            <a:normAutofit/>
          </a:bodyPr>
          <a:lstStyle>
            <a:lvl1pPr defTabSz="1072869">
              <a:lnSpc>
                <a:spcPct val="90000"/>
              </a:lnSpc>
              <a:defRPr sz="572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35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9429751" y="1166534"/>
            <a:ext cx="2476500" cy="483342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6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333751" y="6021389"/>
            <a:ext cx="2475707" cy="571500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120000"/>
              </a:lnSpc>
              <a:defRPr sz="16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4288775"/>
      </p:ext>
    </p:extLst>
  </p:cSld>
  <p:clrMapOvr>
    <a:masterClrMapping/>
  </p:clrMapOvr>
  <p:transition spd="med"/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+000%"/>
          <p:cNvSpPr txBox="1">
            <a:spLocks noGrp="1"/>
          </p:cNvSpPr>
          <p:nvPr>
            <p:ph type="title" hasCustomPrompt="1"/>
          </p:nvPr>
        </p:nvSpPr>
        <p:spPr>
          <a:xfrm>
            <a:off x="287339" y="201168"/>
            <a:ext cx="2474912" cy="2667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</a:lstStyle>
          <a:p>
            <a:r>
              <a:t>+000%</a:t>
            </a:r>
          </a:p>
        </p:txBody>
      </p:sp>
      <p:sp>
        <p:nvSpPr>
          <p:cNvPr id="14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3751" y="201168"/>
            <a:ext cx="5524500" cy="2667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/>
            </a:lvl1pPr>
            <a:lvl2pPr marL="393182" indent="-393182">
              <a:lnSpc>
                <a:spcPct val="100000"/>
              </a:lnSpc>
              <a:defRPr sz="4300"/>
            </a:lvl2pPr>
            <a:lvl3pPr marL="749789" indent="-393182">
              <a:lnSpc>
                <a:spcPct val="100000"/>
              </a:lnSpc>
              <a:defRPr sz="4300"/>
            </a:lvl3pPr>
            <a:lvl4pPr marL="1142971" indent="-393182">
              <a:lnSpc>
                <a:spcPct val="100000"/>
              </a:lnSpc>
              <a:defRPr sz="4300"/>
            </a:lvl4pPr>
            <a:lvl5pPr>
              <a:lnSpc>
                <a:spcPct val="100000"/>
              </a:lnSpc>
              <a:defRPr sz="43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6" name="Straight Connector 9"/>
          <p:cNvSpPr/>
          <p:nvPr/>
        </p:nvSpPr>
        <p:spPr>
          <a:xfrm>
            <a:off x="284163" y="3048000"/>
            <a:ext cx="11622088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47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3238500"/>
            <a:ext cx="2474912" cy="2667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</a:lstStyle>
          <a:p>
            <a:r>
              <a:t>+000M</a:t>
            </a:r>
          </a:p>
        </p:txBody>
      </p:sp>
      <p:sp>
        <p:nvSpPr>
          <p:cNvPr id="148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3333751" y="3238500"/>
            <a:ext cx="5524500" cy="2667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8600"/>
            </a:pPr>
            <a:endParaRPr/>
          </a:p>
        </p:txBody>
      </p:sp>
      <p:sp>
        <p:nvSpPr>
          <p:cNvPr id="14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8394172"/>
      </p:ext>
    </p:extLst>
  </p:cSld>
  <p:clrMapOvr>
    <a:masterClrMapping/>
  </p:clrMapOvr>
  <p:transition spd="med"/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15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333751" y="205740"/>
            <a:ext cx="2475707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SzTx/>
              <a:buNone/>
              <a:defRPr sz="6500">
                <a:solidFill>
                  <a:schemeClr val="accent1"/>
                </a:solidFill>
              </a:defRPr>
            </a:lvl2pPr>
            <a:lvl3pPr marL="758933" indent="-594345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3pPr>
            <a:lvl4pPr marL="923521" indent="-594345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4pPr>
            <a:lvl5pPr marL="1168371" indent="-825479">
              <a:lnSpc>
                <a:spcPct val="90000"/>
              </a:lnSpc>
              <a:defRPr sz="6500">
                <a:solidFill>
                  <a:schemeClr val="accent1"/>
                </a:solidFill>
              </a:defRPr>
            </a:lvl5pPr>
          </a:lstStyle>
          <a:p>
            <a:r>
              <a:t>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58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381751" y="288036"/>
            <a:ext cx="3810000" cy="142954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59" name="Straight Connector 16"/>
          <p:cNvSpPr/>
          <p:nvPr/>
        </p:nvSpPr>
        <p:spPr>
          <a:xfrm>
            <a:off x="3333751" y="2000251"/>
            <a:ext cx="857250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6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33751" y="2093977"/>
            <a:ext cx="2475707" cy="14287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6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81751" y="2190750"/>
            <a:ext cx="3810000" cy="1428751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62" name="Straight Connector 14"/>
          <p:cNvSpPr/>
          <p:nvPr/>
        </p:nvSpPr>
        <p:spPr>
          <a:xfrm>
            <a:off x="3333751" y="4095751"/>
            <a:ext cx="857250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63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3333749" y="4201669"/>
            <a:ext cx="2475707" cy="142875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64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381751" y="4286250"/>
            <a:ext cx="3810000" cy="1428751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6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333751" y="6021389"/>
            <a:ext cx="2475707" cy="571500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120000"/>
              </a:lnSpc>
              <a:defRPr sz="16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6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1970239"/>
      </p:ext>
    </p:extLst>
  </p:cSld>
  <p:clrMapOvr>
    <a:masterClrMapping/>
  </p:clrMapOvr>
  <p:transition spd="med"/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17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714500"/>
            <a:ext cx="2478088" cy="4286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91438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182875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274313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4pPr>
            <a:lvl5pPr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7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381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77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9429751" y="1714500"/>
            <a:ext cx="2479675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7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4562557"/>
      </p:ext>
    </p:extLst>
  </p:cSld>
  <p:clrMapOvr>
    <a:masterClrMapping/>
  </p:clrMapOvr>
  <p:transition spd="med"/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18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3751" y="288036"/>
            <a:ext cx="2478088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91438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182875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274313" indent="-91438"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4pPr>
            <a:lvl5pPr>
              <a:defRPr sz="1000">
                <a:latin typeface="IBM Plex Sans"/>
                <a:ea typeface="IBM Plex Sans"/>
                <a:cs typeface="IBM Plex Sans"/>
                <a:sym typeface="IBM Plex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7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289719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88" name="Straight Connector 19"/>
          <p:cNvSpPr/>
          <p:nvPr/>
        </p:nvSpPr>
        <p:spPr>
          <a:xfrm flipH="1">
            <a:off x="3048001" y="1714500"/>
            <a:ext cx="1" cy="4286251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89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90" name="Straight Connector 20"/>
          <p:cNvSpPr/>
          <p:nvPr/>
        </p:nvSpPr>
        <p:spPr>
          <a:xfrm flipH="1">
            <a:off x="6094476" y="1714500"/>
            <a:ext cx="0" cy="4288536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9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81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92" name="Straight Connector 21"/>
          <p:cNvSpPr/>
          <p:nvPr/>
        </p:nvSpPr>
        <p:spPr>
          <a:xfrm flipH="1">
            <a:off x="9144000" y="1714500"/>
            <a:ext cx="0" cy="4288536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193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9429751" y="1714500"/>
            <a:ext cx="2479675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4034983"/>
      </p:ext>
    </p:extLst>
  </p:cSld>
  <p:clrMapOvr>
    <a:masterClrMapping/>
  </p:clrMapOvr>
  <p:transition spd="med"/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202" name="Straight Connector 13"/>
          <p:cNvSpPr/>
          <p:nvPr/>
        </p:nvSpPr>
        <p:spPr>
          <a:xfrm flipH="1">
            <a:off x="3048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0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3751" y="288036"/>
            <a:ext cx="2478088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4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05" name="Straight Connector 17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0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381751" y="288036"/>
            <a:ext cx="2476500" cy="762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0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81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08" name="Straight Connector 18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09" name="Text Placeholder 12"/>
          <p:cNvSpPr>
            <a:spLocks noGrp="1"/>
          </p:cNvSpPr>
          <p:nvPr>
            <p:ph type="body" sz="quarter" idx="24"/>
          </p:nvPr>
        </p:nvSpPr>
        <p:spPr>
          <a:xfrm>
            <a:off x="9429751" y="288036"/>
            <a:ext cx="2479675" cy="762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1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9429751" y="1714500"/>
            <a:ext cx="2479675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2875823"/>
      </p:ext>
    </p:extLst>
  </p:cSld>
  <p:clrMapOvr>
    <a:masterClrMapping/>
  </p:clrMapOvr>
  <p:transition spd="med"/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1048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r>
              <a:t>Title Text</a:t>
            </a:r>
          </a:p>
        </p:txBody>
      </p:sp>
      <p:sp>
        <p:nvSpPr>
          <p:cNvPr id="21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714500"/>
            <a:ext cx="2478088" cy="2000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  <a:lvl2pPr>
              <a:lnSpc>
                <a:spcPct val="100000"/>
              </a:lnSpc>
            </a:lvl2pPr>
            <a:lvl3pPr>
              <a:lnSpc>
                <a:spcPct val="100000"/>
              </a:lnSpc>
            </a:lvl3pPr>
            <a:lvl4pPr>
              <a:lnSpc>
                <a:spcPct val="100000"/>
              </a:lnSpc>
            </a:lvl4pPr>
            <a:lvl5pPr>
              <a:lnSpc>
                <a:spcPct val="100000"/>
              </a:lnSpc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0" name="Straight Connector 16"/>
          <p:cNvSpPr/>
          <p:nvPr/>
        </p:nvSpPr>
        <p:spPr>
          <a:xfrm flipH="1">
            <a:off x="3048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2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3333751" y="28803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22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223" name="Straight Connector 17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24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6388177" y="28803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25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384017" y="1714500"/>
            <a:ext cx="247106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226" name="Straight Connector 18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227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429751" y="28803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28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9429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2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6193606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773952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00000"/>
              </a:lnSpc>
              <a:defRPr sz="31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192601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21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2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2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4826702"/>
      </p:ext>
    </p:extLst>
  </p:cSld>
  <p:clrMapOvr>
    <a:masterClrMapping/>
  </p:clrMapOvr>
  <p:transition spd="med"/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Title Text"/>
          <p:cNvSpPr txBox="1">
            <a:spLocks noGrp="1"/>
          </p:cNvSpPr>
          <p:nvPr>
            <p:ph type="title"/>
          </p:nvPr>
        </p:nvSpPr>
        <p:spPr>
          <a:xfrm>
            <a:off x="288037" y="192024"/>
            <a:ext cx="2474913" cy="5707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23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2988" y="192024"/>
            <a:ext cx="2478088" cy="5707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/>
            </a:lvl1pPr>
            <a:lvl2pPr marL="376201" indent="-376201">
              <a:lnSpc>
                <a:spcPct val="100000"/>
              </a:lnSpc>
              <a:defRPr sz="3200"/>
            </a:lvl2pPr>
            <a:lvl3pPr marL="540789" indent="-376201">
              <a:lnSpc>
                <a:spcPct val="100000"/>
              </a:lnSpc>
              <a:defRPr sz="3200"/>
            </a:lvl3pPr>
            <a:lvl4pPr marL="705377" indent="-376201">
              <a:lnSpc>
                <a:spcPct val="100000"/>
              </a:lnSpc>
              <a:defRPr sz="3200"/>
            </a:lvl4pPr>
            <a:lvl5pPr marL="865393" indent="-522502">
              <a:lnSpc>
                <a:spcPct val="100000"/>
              </a:lnSpc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8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39" name="Text Placeholder 8"/>
          <p:cNvSpPr>
            <a:spLocks noGrp="1"/>
          </p:cNvSpPr>
          <p:nvPr>
            <p:ph type="body" sz="half" idx="22"/>
          </p:nvPr>
        </p:nvSpPr>
        <p:spPr>
          <a:xfrm>
            <a:off x="6381749" y="1714500"/>
            <a:ext cx="5048251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1280139"/>
      </p:ext>
    </p:extLst>
  </p:cSld>
  <p:clrMapOvr>
    <a:masterClrMapping/>
  </p:clrMapOvr>
  <p:transition spd="med"/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Title Text"/>
          <p:cNvSpPr txBox="1">
            <a:spLocks noGrp="1"/>
          </p:cNvSpPr>
          <p:nvPr>
            <p:ph type="title"/>
          </p:nvPr>
        </p:nvSpPr>
        <p:spPr>
          <a:xfrm>
            <a:off x="288036" y="288037"/>
            <a:ext cx="3712464" cy="9532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248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88037" y="1714500"/>
            <a:ext cx="5049839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9" name="Text Placeholder 4"/>
          <p:cNvSpPr>
            <a:spLocks noGrp="1"/>
          </p:cNvSpPr>
          <p:nvPr>
            <p:ph type="body" sz="half" idx="21"/>
          </p:nvPr>
        </p:nvSpPr>
        <p:spPr>
          <a:xfrm>
            <a:off x="6381749" y="1714500"/>
            <a:ext cx="5048251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5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8326809"/>
      </p:ext>
    </p:extLst>
  </p:cSld>
  <p:clrMapOvr>
    <a:masterClrMapping/>
  </p:clrMapOvr>
  <p:transition spd="med"/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Title Text"/>
          <p:cNvSpPr txBox="1">
            <a:spLocks noGrp="1"/>
          </p:cNvSpPr>
          <p:nvPr>
            <p:ph type="title"/>
          </p:nvPr>
        </p:nvSpPr>
        <p:spPr>
          <a:xfrm>
            <a:off x="288037" y="192024"/>
            <a:ext cx="5522913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25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8037"/>
            <a:ext cx="2476500" cy="571579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9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429751" y="288036"/>
            <a:ext cx="2476500" cy="5715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94067"/>
      </p:ext>
    </p:extLst>
  </p:cSld>
  <p:clrMapOvr>
    <a:masterClrMapping/>
  </p:clrMapOvr>
  <p:transition spd="med"/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6500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26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4956"/>
            <a:ext cx="2476500" cy="5715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9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429751" y="284956"/>
            <a:ext cx="2476500" cy="5715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8152728"/>
      </p:ext>
    </p:extLst>
  </p:cSld>
  <p:clrMapOvr>
    <a:masterClrMapping/>
  </p:clrMapOvr>
  <p:transition spd="med"/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Title Text"/>
          <p:cNvSpPr txBox="1">
            <a:spLocks noGrp="1"/>
          </p:cNvSpPr>
          <p:nvPr>
            <p:ph type="title"/>
          </p:nvPr>
        </p:nvSpPr>
        <p:spPr>
          <a:xfrm>
            <a:off x="288036" y="192024"/>
            <a:ext cx="5519739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27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8036"/>
            <a:ext cx="2476500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381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80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9429751" y="288036"/>
            <a:ext cx="2479675" cy="762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8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9431338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3231044"/>
      </p:ext>
    </p:extLst>
  </p:cSld>
  <p:clrMapOvr>
    <a:masterClrMapping/>
  </p:clrMapOvr>
  <p:transition spd="med"/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228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29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8036"/>
            <a:ext cx="2476500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1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381751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92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9429751" y="288036"/>
            <a:ext cx="2479675" cy="762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29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9432926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2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2201455"/>
      </p:ext>
    </p:extLst>
  </p:cSld>
  <p:clrMapOvr>
    <a:masterClrMapping/>
  </p:clrMapOvr>
  <p:transition spd="med"/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Title Text"/>
          <p:cNvSpPr txBox="1">
            <a:spLocks noGrp="1"/>
          </p:cNvSpPr>
          <p:nvPr>
            <p:ph type="title"/>
          </p:nvPr>
        </p:nvSpPr>
        <p:spPr>
          <a:xfrm>
            <a:off x="288037" y="192024"/>
            <a:ext cx="2474913" cy="5707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30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4576" y="192024"/>
            <a:ext cx="2478088" cy="5707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/>
            </a:lvl1pPr>
            <a:lvl2pPr marL="376201" indent="-376201">
              <a:lnSpc>
                <a:spcPct val="100000"/>
              </a:lnSpc>
              <a:defRPr sz="3200"/>
            </a:lvl2pPr>
            <a:lvl3pPr marL="540789" indent="-376201">
              <a:lnSpc>
                <a:spcPct val="100000"/>
              </a:lnSpc>
              <a:defRPr sz="3200"/>
            </a:lvl3pPr>
            <a:lvl4pPr marL="705377" indent="-376201">
              <a:lnSpc>
                <a:spcPct val="100000"/>
              </a:lnSpc>
              <a:defRPr sz="3200"/>
            </a:lvl4pPr>
            <a:lvl5pPr marL="865393" indent="-522502">
              <a:lnSpc>
                <a:spcPct val="100000"/>
              </a:lnSpc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3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04" name="Straight Connector 12"/>
          <p:cNvSpPr/>
          <p:nvPr/>
        </p:nvSpPr>
        <p:spPr>
          <a:xfrm flipH="1">
            <a:off x="6094476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0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6381751" y="288036"/>
            <a:ext cx="457836" cy="4572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06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383819" y="1714500"/>
            <a:ext cx="2476500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307" name="Straight Connector 13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08" name="Picture Placeholder 11"/>
          <p:cNvSpPr>
            <a:spLocks noGrp="1"/>
          </p:cNvSpPr>
          <p:nvPr>
            <p:ph type="pic" sz="quarter" idx="24"/>
          </p:nvPr>
        </p:nvSpPr>
        <p:spPr>
          <a:xfrm>
            <a:off x="9429751" y="288036"/>
            <a:ext cx="457836" cy="4572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09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9431819" y="1714500"/>
            <a:ext cx="2479676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0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3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887315"/>
      </p:ext>
    </p:extLst>
  </p:cSld>
  <p:clrMapOvr>
    <a:masterClrMapping/>
  </p:clrMapOvr>
  <p:transition spd="med"/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288037" y="28803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239012"/>
            <a:ext cx="3335339" cy="152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200"/>
            </a:lvl1pPr>
            <a:lvl2pPr marL="201163" indent="-201163">
              <a:lnSpc>
                <a:spcPct val="100000"/>
              </a:lnSpc>
              <a:defRPr sz="2200"/>
            </a:lvl2pPr>
            <a:lvl3pPr marL="402326" indent="-201163">
              <a:lnSpc>
                <a:spcPct val="100000"/>
              </a:lnSpc>
              <a:defRPr sz="2200"/>
            </a:lvl3pPr>
            <a:lvl4pPr marL="557770" indent="-201163">
              <a:lnSpc>
                <a:spcPct val="100000"/>
              </a:lnSpc>
              <a:defRPr sz="2200"/>
            </a:lvl4pPr>
            <a:lvl5pPr>
              <a:lnSpc>
                <a:spcPct val="100000"/>
              </a:lnSpc>
              <a:defRPr sz="2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9" name="Straight Connector 13"/>
          <p:cNvSpPr/>
          <p:nvPr/>
        </p:nvSpPr>
        <p:spPr>
          <a:xfrm flipH="1">
            <a:off x="6096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20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6381751" y="28803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1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381750" y="1238251"/>
            <a:ext cx="3333751" cy="1524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4400"/>
            </a:pPr>
            <a:endParaRPr/>
          </a:p>
        </p:txBody>
      </p:sp>
      <p:sp>
        <p:nvSpPr>
          <p:cNvPr id="322" name="Straight Connector 15"/>
          <p:cNvSpPr/>
          <p:nvPr/>
        </p:nvSpPr>
        <p:spPr>
          <a:xfrm>
            <a:off x="284163" y="3048000"/>
            <a:ext cx="11622088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23" name="Picture Placeholder 16"/>
          <p:cNvSpPr>
            <a:spLocks noGrp="1"/>
          </p:cNvSpPr>
          <p:nvPr>
            <p:ph type="pic" sz="quarter" idx="24"/>
          </p:nvPr>
        </p:nvSpPr>
        <p:spPr>
          <a:xfrm>
            <a:off x="288037" y="3236977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4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288036" y="4192524"/>
            <a:ext cx="3335339" cy="1524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4400"/>
            </a:pPr>
            <a:endParaRPr/>
          </a:p>
        </p:txBody>
      </p:sp>
      <p:sp>
        <p:nvSpPr>
          <p:cNvPr id="325" name="Picture Placeholder 18"/>
          <p:cNvSpPr>
            <a:spLocks noGrp="1"/>
          </p:cNvSpPr>
          <p:nvPr>
            <p:ph type="pic" sz="quarter" idx="26"/>
          </p:nvPr>
        </p:nvSpPr>
        <p:spPr>
          <a:xfrm>
            <a:off x="6381751" y="3238501"/>
            <a:ext cx="608076" cy="60807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6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6381751" y="4191000"/>
            <a:ext cx="3333751" cy="1524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4400"/>
            </a:pPr>
            <a:endParaRPr/>
          </a:p>
        </p:txBody>
      </p:sp>
      <p:sp>
        <p:nvSpPr>
          <p:cNvPr id="32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0244577"/>
      </p:ext>
    </p:extLst>
  </p:cSld>
  <p:clrMapOvr>
    <a:masterClrMapping/>
  </p:clrMapOvr>
  <p:transition spd="med"/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288036"/>
            <a:ext cx="2478088" cy="5707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92601" indent="-128013">
              <a:defRPr sz="1400"/>
            </a:lvl3pPr>
            <a:lvl4pPr marL="457189" indent="-128013">
              <a:defRPr sz="1400"/>
            </a:lvl4pPr>
            <a:lvl5pPr marL="520687" indent="-177796"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35" name="Title Text"/>
          <p:cNvSpPr txBox="1">
            <a:spLocks noGrp="1"/>
          </p:cNvSpPr>
          <p:nvPr>
            <p:ph type="title"/>
          </p:nvPr>
        </p:nvSpPr>
        <p:spPr>
          <a:xfrm>
            <a:off x="288037" y="841249"/>
            <a:ext cx="2857500" cy="11384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336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82513" y="288036"/>
            <a:ext cx="2476500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37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9429751" y="288036"/>
            <a:ext cx="2479675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38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381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39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9429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1879655"/>
      </p:ext>
    </p:extLst>
  </p:cSld>
  <p:clrMapOvr>
    <a:masterClrMapping/>
  </p:clrMapOvr>
  <p:transition spd="med"/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288037"/>
            <a:ext cx="2478088" cy="2240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92601" indent="-128013">
              <a:defRPr sz="1400"/>
            </a:lvl3pPr>
            <a:lvl4pPr marL="457189" indent="-128013">
              <a:defRPr sz="1400"/>
            </a:lvl4pPr>
            <a:lvl5pPr marL="520687" indent="-177796"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8" name="Title Text"/>
          <p:cNvSpPr txBox="1">
            <a:spLocks noGrp="1"/>
          </p:cNvSpPr>
          <p:nvPr>
            <p:ph type="title"/>
          </p:nvPr>
        </p:nvSpPr>
        <p:spPr>
          <a:xfrm>
            <a:off x="288036" y="763525"/>
            <a:ext cx="5522120" cy="11384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</a:lvl1pPr>
          </a:lstStyle>
          <a:p>
            <a:r>
              <a:t>Title Text</a:t>
            </a:r>
          </a:p>
        </p:txBody>
      </p:sp>
      <p:sp>
        <p:nvSpPr>
          <p:cNvPr id="34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81751" y="284956"/>
            <a:ext cx="2476500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50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9429751" y="284956"/>
            <a:ext cx="2479675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51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381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52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9429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802151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1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71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36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272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08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1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36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272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08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8721363"/>
      </p:ext>
    </p:extLst>
  </p:cSld>
  <p:clrMapOvr>
    <a:masterClrMapping/>
  </p:clrMapOvr>
  <p:transition spd="med"/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Title Text"/>
          <p:cNvSpPr txBox="1">
            <a:spLocks noGrp="1"/>
          </p:cNvSpPr>
          <p:nvPr>
            <p:ph type="title"/>
          </p:nvPr>
        </p:nvSpPr>
        <p:spPr>
          <a:xfrm>
            <a:off x="288036" y="288036"/>
            <a:ext cx="2478088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36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7" y="3328416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2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3331621" y="3333751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63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83881" y="3333751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64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9429751" y="3333751"/>
            <a:ext cx="2474912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6436590"/>
      </p:ext>
    </p:extLst>
  </p:cSld>
  <p:clrMapOvr>
    <a:masterClrMapping/>
  </p:clrMapOvr>
  <p:transition spd="med"/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Title Text"/>
          <p:cNvSpPr txBox="1">
            <a:spLocks noGrp="1"/>
          </p:cNvSpPr>
          <p:nvPr>
            <p:ph type="title"/>
          </p:nvPr>
        </p:nvSpPr>
        <p:spPr>
          <a:xfrm>
            <a:off x="288037" y="192024"/>
            <a:ext cx="5525295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3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7" y="3328416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4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3334797" y="3333751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75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83881" y="3333751"/>
            <a:ext cx="2474913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76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9429751" y="3333751"/>
            <a:ext cx="2474912" cy="2672459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0112644"/>
      </p:ext>
    </p:extLst>
  </p:cSld>
  <p:clrMapOvr>
    <a:masterClrMapping/>
  </p:clrMapOvr>
  <p:transition spd="med"/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38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2989" y="288036"/>
            <a:ext cx="2476500" cy="2572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86" name="Straight Connector 6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87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81751" y="288036"/>
            <a:ext cx="2476500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88" name="Straight Connector 7"/>
          <p:cNvSpPr/>
          <p:nvPr/>
        </p:nvSpPr>
        <p:spPr>
          <a:xfrm flipH="1">
            <a:off x="9147392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89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9429751" y="288036"/>
            <a:ext cx="2479675" cy="2572544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90" name="Straight Connector 2"/>
          <p:cNvSpPr/>
          <p:nvPr/>
        </p:nvSpPr>
        <p:spPr>
          <a:xfrm>
            <a:off x="3048001" y="3048000"/>
            <a:ext cx="8861425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391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334577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92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6381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93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9429751" y="3333751"/>
            <a:ext cx="2476500" cy="24765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3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0075943"/>
      </p:ext>
    </p:extLst>
  </p:cSld>
  <p:clrMapOvr>
    <a:masterClrMapping/>
  </p:clrMapOvr>
  <p:transition spd="med"/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402" name="Straight Connector 23"/>
          <p:cNvSpPr/>
          <p:nvPr/>
        </p:nvSpPr>
        <p:spPr>
          <a:xfrm flipH="1">
            <a:off x="3048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03" name="Picture Placeholder 15"/>
          <p:cNvSpPr>
            <a:spLocks noGrp="1"/>
          </p:cNvSpPr>
          <p:nvPr>
            <p:ph type="pic" sz="quarter" idx="21"/>
          </p:nvPr>
        </p:nvSpPr>
        <p:spPr>
          <a:xfrm>
            <a:off x="3333751" y="288036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0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3751" y="666749"/>
            <a:ext cx="2475707" cy="1905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  <a:lvl2pPr marL="109725" indent="-109725">
              <a:defRPr sz="1200"/>
            </a:lvl2pPr>
            <a:lvl3pPr marL="219451" indent="-109725">
              <a:defRPr sz="1200"/>
            </a:lvl3pPr>
            <a:lvl4pPr marL="329176" indent="-109725">
              <a:defRPr sz="1200"/>
            </a:lvl4pPr>
            <a:lvl5pPr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5" name="Straight Connector 27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06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6381751" y="288036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07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381751" y="666749"/>
            <a:ext cx="2476500" cy="1905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408" name="Straight Connector 26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09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9429751" y="666749"/>
            <a:ext cx="2476500" cy="1905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410" name="Picture Placeholder 15"/>
          <p:cNvSpPr>
            <a:spLocks noGrp="1"/>
          </p:cNvSpPr>
          <p:nvPr>
            <p:ph type="pic" sz="quarter" idx="25"/>
          </p:nvPr>
        </p:nvSpPr>
        <p:spPr>
          <a:xfrm>
            <a:off x="9429751" y="288036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1" name="Straight Connector 22"/>
          <p:cNvSpPr/>
          <p:nvPr/>
        </p:nvSpPr>
        <p:spPr>
          <a:xfrm>
            <a:off x="3048001" y="3048000"/>
            <a:ext cx="8861425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12" name="Picture Placeholder 15"/>
          <p:cNvSpPr>
            <a:spLocks noGrp="1"/>
          </p:cNvSpPr>
          <p:nvPr>
            <p:ph type="pic" sz="quarter" idx="26"/>
          </p:nvPr>
        </p:nvSpPr>
        <p:spPr>
          <a:xfrm>
            <a:off x="3333751" y="3347315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333751" y="3714751"/>
            <a:ext cx="2475707" cy="1905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414" name="Picture Placeholder 15"/>
          <p:cNvSpPr>
            <a:spLocks noGrp="1"/>
          </p:cNvSpPr>
          <p:nvPr>
            <p:ph type="pic" sz="quarter" idx="28"/>
          </p:nvPr>
        </p:nvSpPr>
        <p:spPr>
          <a:xfrm>
            <a:off x="6381751" y="3347315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6381751" y="3714750"/>
            <a:ext cx="2475707" cy="1896343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416" name="Picture Placeholder 15"/>
          <p:cNvSpPr>
            <a:spLocks noGrp="1"/>
          </p:cNvSpPr>
          <p:nvPr>
            <p:ph type="pic" sz="quarter" idx="30"/>
          </p:nvPr>
        </p:nvSpPr>
        <p:spPr>
          <a:xfrm>
            <a:off x="9429751" y="3347315"/>
            <a:ext cx="201168" cy="20161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7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9429751" y="3714751"/>
            <a:ext cx="2476500" cy="19050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/>
            </a:pPr>
            <a:endParaRPr/>
          </a:p>
        </p:txBody>
      </p:sp>
      <p:sp>
        <p:nvSpPr>
          <p:cNvPr id="4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0920642"/>
      </p:ext>
    </p:extLst>
  </p:cSld>
  <p:clrMapOvr>
    <a:masterClrMapping/>
  </p:clrMapOvr>
  <p:transition spd="med"/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Title Text"/>
          <p:cNvSpPr txBox="1">
            <a:spLocks noGrp="1"/>
          </p:cNvSpPr>
          <p:nvPr>
            <p:ph type="title"/>
          </p:nvPr>
        </p:nvSpPr>
        <p:spPr>
          <a:xfrm>
            <a:off x="288036" y="192025"/>
            <a:ext cx="5519739" cy="17065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426" name="Straight Connector 19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8037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8" name="Straight Connector 18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29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9431338" y="288037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30" name="Straight Connector 15"/>
          <p:cNvSpPr/>
          <p:nvPr/>
        </p:nvSpPr>
        <p:spPr>
          <a:xfrm>
            <a:off x="287337" y="3048000"/>
            <a:ext cx="11622088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31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288037" y="3332989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32" name="Straight Connector 17"/>
          <p:cNvSpPr/>
          <p:nvPr/>
        </p:nvSpPr>
        <p:spPr>
          <a:xfrm flipH="1">
            <a:off x="3048001" y="3048001"/>
            <a:ext cx="1" cy="2952751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33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3333751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3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6381751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35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9431338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7852004"/>
      </p:ext>
    </p:extLst>
  </p:cSld>
  <p:clrMapOvr>
    <a:masterClrMapping/>
  </p:clrMapOvr>
  <p:transition spd="med"/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Title Text"/>
          <p:cNvSpPr txBox="1">
            <a:spLocks noGrp="1"/>
          </p:cNvSpPr>
          <p:nvPr>
            <p:ph type="title"/>
          </p:nvPr>
        </p:nvSpPr>
        <p:spPr>
          <a:xfrm>
            <a:off x="288037" y="288037"/>
            <a:ext cx="2474913" cy="17065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800"/>
            </a:lvl1pPr>
          </a:lstStyle>
          <a:p>
            <a:r>
              <a:t>Title Text</a:t>
            </a:r>
          </a:p>
        </p:txBody>
      </p:sp>
      <p:sp>
        <p:nvSpPr>
          <p:cNvPr id="4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1" y="288037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4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9431338" y="288037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4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381751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47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9431338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4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290081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49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3333751" y="3333750"/>
            <a:ext cx="2476500" cy="24772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50" name="Straight Connector 15"/>
          <p:cNvSpPr/>
          <p:nvPr/>
        </p:nvSpPr>
        <p:spPr>
          <a:xfrm>
            <a:off x="287337" y="3048000"/>
            <a:ext cx="11622088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51" name="Straight Connector 17"/>
          <p:cNvSpPr/>
          <p:nvPr/>
        </p:nvSpPr>
        <p:spPr>
          <a:xfrm flipH="1">
            <a:off x="3048001" y="3048001"/>
            <a:ext cx="1" cy="2952751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52" name="Straight Connector 18"/>
          <p:cNvSpPr/>
          <p:nvPr/>
        </p:nvSpPr>
        <p:spPr>
          <a:xfrm flipH="1">
            <a:off x="9144000" y="284956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53" name="Straight Connector 19"/>
          <p:cNvSpPr/>
          <p:nvPr/>
        </p:nvSpPr>
        <p:spPr>
          <a:xfrm flipH="1">
            <a:off x="6094476" y="283463"/>
            <a:ext cx="0" cy="5715795"/>
          </a:xfrm>
          <a:prstGeom prst="line">
            <a:avLst/>
          </a:prstGeom>
          <a:ln w="12700">
            <a:solidFill>
              <a:srgbClr val="000000"/>
            </a:solidFill>
          </a:ln>
        </p:spPr>
        <p:txBody>
          <a:bodyPr lIns="22860" rIns="22860"/>
          <a:lstStyle/>
          <a:p>
            <a:pPr>
              <a:defRPr>
                <a:solidFill>
                  <a:srgbClr val="000000"/>
                </a:solidFill>
              </a:defRPr>
            </a:pPr>
            <a:endParaRPr sz="675"/>
          </a:p>
        </p:txBody>
      </p:sp>
      <p:sp>
        <p:nvSpPr>
          <p:cNvPr id="4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9655669"/>
      </p:ext>
    </p:extLst>
  </p:cSld>
  <p:clrMapOvr>
    <a:masterClrMapping/>
  </p:clrMapOvr>
  <p:transition spd="med"/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4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714500"/>
            <a:ext cx="2478088" cy="4286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63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3333751" y="1714500"/>
            <a:ext cx="2475707" cy="4286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464" name="Picture Placeholder 10"/>
          <p:cNvSpPr>
            <a:spLocks noGrp="1"/>
          </p:cNvSpPr>
          <p:nvPr>
            <p:ph type="pic" idx="22"/>
          </p:nvPr>
        </p:nvSpPr>
        <p:spPr>
          <a:xfrm>
            <a:off x="6381751" y="284957"/>
            <a:ext cx="5524500" cy="6287295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5514263"/>
      </p:ext>
    </p:extLst>
  </p:cSld>
  <p:clrMapOvr>
    <a:masterClrMapping/>
  </p:clrMapOvr>
  <p:transition spd="med"/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4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714500"/>
            <a:ext cx="2478088" cy="4286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74" name="Picture Placeholder 11"/>
          <p:cNvSpPr>
            <a:spLocks noGrp="1"/>
          </p:cNvSpPr>
          <p:nvPr>
            <p:ph type="pic" idx="21"/>
          </p:nvPr>
        </p:nvSpPr>
        <p:spPr>
          <a:xfrm>
            <a:off x="3048001" y="0"/>
            <a:ext cx="9145588" cy="68580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1085843"/>
      </p:ext>
    </p:extLst>
  </p:cSld>
  <p:clrMapOvr>
    <a:masterClrMapping/>
  </p:clrMapOvr>
  <p:transition spd="med"/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48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714500"/>
            <a:ext cx="2478088" cy="4286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84" name="Picture Placeholder 6"/>
          <p:cNvSpPr>
            <a:spLocks noGrp="1"/>
          </p:cNvSpPr>
          <p:nvPr>
            <p:ph type="pic" idx="21"/>
          </p:nvPr>
        </p:nvSpPr>
        <p:spPr>
          <a:xfrm>
            <a:off x="3333751" y="282576"/>
            <a:ext cx="8575675" cy="6289675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8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3856590"/>
      </p:ext>
    </p:extLst>
  </p:cSld>
  <p:clrMapOvr>
    <a:masterClrMapping/>
  </p:clrMapOvr>
  <p:transition spd="med"/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Picture Placeholder 3"/>
          <p:cNvSpPr>
            <a:spLocks noGrp="1"/>
          </p:cNvSpPr>
          <p:nvPr>
            <p:ph type="pic" idx="21"/>
          </p:nvPr>
        </p:nvSpPr>
        <p:spPr>
          <a:xfrm>
            <a:off x="0" y="0"/>
            <a:ext cx="12193587" cy="68580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9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73086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[2-1] 4-column ">
    <p:bg>
      <p:bgPr>
        <a:solidFill>
          <a:srgbClr val="CDE3F5">
            <a:alpha val="4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3F4BCE-E9D5-5962-B6C0-190140306AB7}"/>
              </a:ext>
            </a:extLst>
          </p:cNvPr>
          <p:cNvSpPr/>
          <p:nvPr userDrawn="1"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6190" tIns="76190" rIns="76190" bIns="761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618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16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-4463" y="3429001"/>
            <a:ext cx="3048000" cy="3070861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9F49CCD-E544-2242-BCDB-2F042D52BC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096001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3B347D2-D190-7794-0805-C7BC464E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0" y="381000"/>
            <a:ext cx="2666994" cy="228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36A56-06EB-9301-CDE7-462A8B95E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623060"/>
            <a:ext cx="2476500" cy="1651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2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DAC562A-80C4-5E6D-5055-1BEC0F16832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1" y="-1"/>
            <a:ext cx="9144001" cy="6858000"/>
          </a:xfrm>
          <a:noFill/>
        </p:spPr>
        <p:txBody>
          <a:bodyPr lIns="228600" tIns="45720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D40E2C-915E-9878-0071-C230D000C9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471999"/>
      </p:ext>
    </p:extLst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Picture Placeholder 3"/>
          <p:cNvSpPr>
            <a:spLocks noGrp="1"/>
          </p:cNvSpPr>
          <p:nvPr>
            <p:ph type="pic" idx="21"/>
          </p:nvPr>
        </p:nvSpPr>
        <p:spPr>
          <a:xfrm>
            <a:off x="284163" y="284957"/>
            <a:ext cx="11622088" cy="6290468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0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2976946"/>
      </p:ext>
    </p:extLst>
  </p:cSld>
  <p:clrMapOvr>
    <a:masterClrMapping/>
  </p:clrMapOvr>
  <p:transition spd="med"/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509" name="Picture Placeholder 7"/>
          <p:cNvSpPr>
            <a:spLocks noGrp="1"/>
          </p:cNvSpPr>
          <p:nvPr>
            <p:ph type="pic" sz="quarter" idx="21"/>
          </p:nvPr>
        </p:nvSpPr>
        <p:spPr>
          <a:xfrm>
            <a:off x="288037" y="13335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1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14500" y="13335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8013" indent="-128013">
              <a:defRPr sz="1400"/>
            </a:lvl2pPr>
            <a:lvl3pPr marL="256026" indent="-128013">
              <a:defRPr sz="1400"/>
            </a:lvl3pPr>
            <a:lvl4pPr marL="384038" indent="-128013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11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288037" y="30607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12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1714500" y="30607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13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288037" y="47625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14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1714500" y="47625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15" name="Picture Placeholder 7"/>
          <p:cNvSpPr>
            <a:spLocks noGrp="1"/>
          </p:cNvSpPr>
          <p:nvPr>
            <p:ph type="pic" sz="quarter" idx="26"/>
          </p:nvPr>
        </p:nvSpPr>
        <p:spPr>
          <a:xfrm>
            <a:off x="6378575" y="13335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16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7808912" y="13335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17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6378575" y="30607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18" name="Text Placeholder 9"/>
          <p:cNvSpPr>
            <a:spLocks noGrp="1"/>
          </p:cNvSpPr>
          <p:nvPr>
            <p:ph type="body" sz="quarter" idx="29"/>
          </p:nvPr>
        </p:nvSpPr>
        <p:spPr>
          <a:xfrm>
            <a:off x="7808912" y="30607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19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378575" y="4762500"/>
            <a:ext cx="1236663" cy="123825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520" name="Text Placeholder 9"/>
          <p:cNvSpPr>
            <a:spLocks noGrp="1"/>
          </p:cNvSpPr>
          <p:nvPr>
            <p:ph type="body" sz="quarter" idx="31"/>
          </p:nvPr>
        </p:nvSpPr>
        <p:spPr>
          <a:xfrm>
            <a:off x="7808912" y="4762500"/>
            <a:ext cx="2854325" cy="123825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3181397"/>
      </p:ext>
    </p:extLst>
  </p:cSld>
  <p:clrMapOvr>
    <a:masterClrMapping/>
  </p:clrMapOvr>
  <p:transition spd="med"/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2286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5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3204687"/>
      </p:ext>
    </p:extLst>
  </p:cSld>
  <p:clrMapOvr>
    <a:masterClrMapping/>
  </p:clrMapOvr>
  <p:transition spd="med"/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88036" y="192024"/>
            <a:ext cx="2478088" cy="14295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3200"/>
            </a:lvl1pPr>
            <a:lvl2pPr marL="164588" indent="-164588">
              <a:lnSpc>
                <a:spcPct val="90000"/>
              </a:lnSpc>
              <a:defRPr sz="3200"/>
            </a:lvl2pPr>
            <a:lvl3pPr marL="329176" indent="-164588">
              <a:lnSpc>
                <a:spcPct val="90000"/>
              </a:lnSpc>
              <a:defRPr sz="3200"/>
            </a:lvl3pPr>
            <a:lvl4pPr>
              <a:lnSpc>
                <a:spcPct val="90000"/>
              </a:lnSpc>
              <a:defRPr sz="3200"/>
            </a:lvl4pPr>
            <a:lvl5pPr>
              <a:lnSpc>
                <a:spcPct val="90000"/>
              </a:lnSpc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9429751" y="284956"/>
            <a:ext cx="2476500" cy="5715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800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3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1489163"/>
      </p:ext>
    </p:extLst>
  </p:cSld>
  <p:clrMapOvr>
    <a:masterClrMapping/>
  </p:clrMapOvr>
  <p:transition spd="med"/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Title Text"/>
          <p:cNvSpPr txBox="1">
            <a:spLocks noGrp="1"/>
          </p:cNvSpPr>
          <p:nvPr>
            <p:ph type="title"/>
          </p:nvPr>
        </p:nvSpPr>
        <p:spPr>
          <a:xfrm>
            <a:off x="288037" y="288036"/>
            <a:ext cx="2474913" cy="762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Title Text</a:t>
            </a:r>
          </a:p>
        </p:txBody>
      </p:sp>
      <p:sp>
        <p:nvSpPr>
          <p:cNvPr id="54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69419"/>
            <a:ext cx="136789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550521"/>
      </p:ext>
    </p:extLst>
  </p:cSld>
  <p:clrMapOvr>
    <a:masterClrMapping/>
  </p:clrMapOvr>
  <p:transition spd="med"/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" name="Picture 3" descr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2687" y="3084230"/>
            <a:ext cx="1728216" cy="689541"/>
          </a:xfrm>
          <a:prstGeom prst="rect">
            <a:avLst/>
          </a:prstGeom>
          <a:ln w="12700">
            <a:miter lim="400000"/>
          </a:ln>
        </p:spPr>
      </p:pic>
      <p:sp>
        <p:nvSpPr>
          <p:cNvPr id="56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0811" y="6233241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3651504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7)_Title and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1714500"/>
            <a:ext cx="3048000" cy="5143500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1714500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1714500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1714500"/>
            <a:ext cx="3048000" cy="5143500"/>
          </a:xfrm>
          <a:noFill/>
        </p:spPr>
        <p:txBody>
          <a:bodyPr lIns="228600" tIns="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2" y="1714500"/>
            <a:ext cx="2975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6" y="1714500"/>
            <a:ext cx="1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tle">
            <a:extLst>
              <a:ext uri="{FF2B5EF4-FFF2-40B4-BE49-F238E27FC236}">
                <a16:creationId xmlns:a16="http://schemas.microsoft.com/office/drawing/2014/main" id="{64341A19-DCFD-4E49-9E0E-E2931E51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81000"/>
            <a:ext cx="8760025" cy="1016000"/>
          </a:xfrm>
        </p:spPr>
        <p:txBody>
          <a:bodyPr/>
          <a:lstStyle>
            <a:lvl1pPr>
              <a:lnSpc>
                <a:spcPct val="100000"/>
              </a:lnSpc>
              <a:defRPr sz="26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E696087-2914-2742-B45C-67DFABB88A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096001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38D9AC3-22E3-014D-AC23-DA10B62B9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905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88245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5-1] 1/4 :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0" tIns="38095" rIns="76190" bIns="380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1" y="1714501"/>
            <a:ext cx="8572499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64" indent="-15236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27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091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454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498"/>
            <a:ext cx="2476500" cy="457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2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43B2228-E44B-174E-ACE3-83C7FA1232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2" y="6096001"/>
            <a:ext cx="2476497" cy="403861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F25A9B-A1BE-A642-B57F-BF7F96FFE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C646A38-6A99-96E9-3048-36F367A1A9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381000"/>
            <a:ext cx="2476497" cy="27241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5812182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4] 3 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4B66DA08-E4C1-28EA-F038-9955AABC7BB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2"/>
            <a:ext cx="6096000" cy="6858000"/>
          </a:xfrm>
        </p:spPr>
        <p:txBody>
          <a:bodyPr lIns="228600" tIns="457200" rIns="91440" bIns="91440" anchor="ctr"/>
          <a:lstStyle>
            <a:lvl1pPr algn="ctr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br>
              <a:rPr lang="en-US" dirty="0"/>
            </a:br>
            <a:r>
              <a:rPr lang="en-US" dirty="0"/>
              <a:t>For optimal results use IBV optimized images tailored to this space https://ibm.box.com/s/o90abqtdne6u89uouh42h0et7pg0hc4q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651001"/>
            <a:ext cx="5486400" cy="1778001"/>
          </a:xfrm>
        </p:spPr>
        <p:txBody>
          <a:bodyPr>
            <a:noAutofit/>
          </a:bodyPr>
          <a:lstStyle>
            <a:lvl1pPr>
              <a:defRPr sz="3332" b="0" i="0">
                <a:solidFill>
                  <a:schemeClr val="tx1"/>
                </a:solidFill>
                <a:latin typeface="IBM Plex Sans ExtLt" panose="020B0303050203000203" pitchFamily="34" charset="0"/>
                <a:ea typeface="IBM Plex Sans ExtLt" panose="020B0303050203000203" pitchFamily="34" charset="0"/>
                <a:cs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667" b="0" i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85A5FBD-0BD7-F996-69FA-7ECF8144CC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381000"/>
            <a:ext cx="2476497" cy="2285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167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8EA8F7A3-7507-ADB2-14B8-886A4E1CDDF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48000" y="3428998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F2923D2A-64F7-D40B-5E02-15B78A5E146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9600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749B7DEA-2243-3936-BDBB-1194347F94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144000" y="3429000"/>
            <a:ext cx="3048000" cy="3429000"/>
          </a:xfrm>
          <a:prstGeom prst="rect">
            <a:avLst/>
          </a:prstGeom>
          <a:noFill/>
          <a:ln>
            <a:noFill/>
          </a:ln>
        </p:spPr>
        <p:txBody>
          <a:bodyPr lIns="4572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333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31015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2149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46" indent="0">
              <a:buNone/>
              <a:defRPr/>
            </a:lvl3pPr>
            <a:lvl4pPr marL="579816" indent="0">
              <a:buNone/>
              <a:defRPr/>
            </a:lvl4pPr>
            <a:lvl5pPr marL="84221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46" indent="0">
              <a:buNone/>
              <a:defRPr/>
            </a:lvl3pPr>
            <a:lvl4pPr marL="579816" indent="0">
              <a:buNone/>
              <a:defRPr/>
            </a:lvl4pPr>
            <a:lvl5pPr marL="84221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55570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4591" cy="2286794"/>
          </a:xfrm>
        </p:spPr>
        <p:txBody>
          <a:bodyPr/>
          <a:lstStyle>
            <a:lvl1pPr>
              <a:lnSpc>
                <a:spcPct val="100000"/>
              </a:lnSpc>
              <a:defRPr sz="3197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2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1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2" y="3333751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6" y="288036"/>
            <a:ext cx="2481639" cy="2572542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6" y="3333750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88472695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2] hd, variable; 2 txt">
    <p:bg>
      <p:bgPr>
        <a:solidFill>
          <a:schemeClr val="bg1">
            <a:alpha val="80303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C008C15D-C6EE-D94C-AED9-A77F48974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651000"/>
            <a:ext cx="5522976" cy="1072896"/>
          </a:xfrm>
        </p:spPr>
        <p:txBody>
          <a:bodyPr/>
          <a:lstStyle>
            <a:lvl1pPr>
              <a:defRPr sz="2333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229935DA-EE12-504A-A42D-8C8FC12B76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0999" y="3429001"/>
            <a:ext cx="5524500" cy="2857499"/>
          </a:xfrm>
        </p:spPr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C1A1368-427E-E729-C688-CEA619FABA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381000"/>
            <a:ext cx="2476497" cy="2285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66B3B21-DCDD-6C45-C936-3B77F3E462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-2"/>
            <a:ext cx="3044956" cy="6858000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1183E754-C11A-6BDF-8DEA-FD356F968A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42479" y="0"/>
            <a:ext cx="3048000" cy="6857998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015801FC-5658-C5C5-786B-4628C96C49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0" y="6096001"/>
            <a:ext cx="5522976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570FA5-ABE4-1F5E-07D6-03D74A48F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9C4929-34A2-D6C1-7E74-7A8DB82060EC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5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7681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070592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837600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3" tIns="45703" rIns="45703" bIns="45703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86672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215254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000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88123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10654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288036"/>
            <a:ext cx="5049180" cy="285751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69898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1" y="284958"/>
            <a:ext cx="2474591" cy="5715794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498743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85892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10313"/>
            <a:ext cx="8569796" cy="4095751"/>
          </a:xfrm>
        </p:spPr>
        <p:txBody>
          <a:bodyPr/>
          <a:lstStyle>
            <a:lvl1pPr>
              <a:defRPr sz="85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855867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7" y="224029"/>
            <a:ext cx="5520317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 marL="292494" indent="-292494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2pPr>
            <a:lvl3pPr marL="548427" indent="-292494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3pPr>
            <a:lvl4pPr marL="877483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100132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881989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686495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649725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20" y="4648201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8" y="288037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542825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2" y="21324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4" y="214828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9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21078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9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9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18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57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9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18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57" indent="-393039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341337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1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9" y="4201669"/>
            <a:ext cx="2475383" cy="142875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701888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577429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7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2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1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935652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7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3844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2477765" cy="20002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1"/>
            <a:ext cx="247073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4" y="288037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668556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6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33838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735557"/>
      </p:ext>
    </p:extLst>
  </p:cSld>
  <p:clrMapOvr>
    <a:masterClrMapping/>
  </p:clrMapOvr>
  <p:transition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3711980" cy="953295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1"/>
            <a:ext cx="5049180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1" y="1714501"/>
            <a:ext cx="5047593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515362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803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550593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265053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20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10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936365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7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8" y="1714501"/>
            <a:ext cx="2476178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006423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1"/>
            <a:ext cx="2476178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1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5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9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4" indent="-91405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3" y="192025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8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4" y="288037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092311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90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81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7" indent="-20109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23697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580782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9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2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7"/>
            <a:ext cx="2477765" cy="570707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501811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7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442679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7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8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171511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229635"/>
      </p:ext>
    </p:extLst>
  </p:cSld>
  <p:clrMapOvr>
    <a:masterClrMapping/>
  </p:clrMapOvr>
  <p:transition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785472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5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2" y="3333752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48408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666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1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71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6" indent="-10968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2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4" y="28803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2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4" y="3347316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6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58170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260698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3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1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2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657742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1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561643488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05971468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1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8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264231346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542892038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5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93616607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420375"/>
      </p:ext>
    </p:extLst>
  </p:cSld>
  <p:clrMapOvr>
    <a:masterClrMapping/>
  </p:clrMapOvr>
  <p:transition spd="med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9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9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9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7" y="30607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8" y="30607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7" y="4762501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8" y="4762501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7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2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8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890905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8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32563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113965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519454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3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6" y="6402389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3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8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71" indent="-73123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27932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6" y="3084232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779577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1245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5"/>
            <a:ext cx="5521400" cy="1138428"/>
          </a:xfrm>
        </p:spPr>
        <p:txBody>
          <a:bodyPr rIns="457200"/>
          <a:lstStyle>
            <a:lvl1pPr>
              <a:lnSpc>
                <a:spcPct val="100000"/>
              </a:lnSpc>
              <a:defRPr sz="31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192601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21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2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2" y="3333750"/>
            <a:ext cx="2481639" cy="2476500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64635773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1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71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36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272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08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1" y="1714501"/>
            <a:ext cx="2485921" cy="4286251"/>
          </a:xfrm>
          <a:prstGeom prst="rect">
            <a:avLst/>
          </a:prstGeom>
        </p:spPr>
        <p:txBody>
          <a:bodyPr/>
          <a:lstStyle>
            <a:lvl1pPr defTabSz="58041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36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272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008" indent="-163736" defTabSz="58041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19280794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3711980" cy="953294"/>
          </a:xfrm>
        </p:spPr>
        <p:txBody>
          <a:bodyPr/>
          <a:lstStyle>
            <a:lvl1pPr>
              <a:lnSpc>
                <a:spcPct val="100000"/>
              </a:lnSpc>
              <a:defRPr sz="31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412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75197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9275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174341"/>
      </p:ext>
    </p:extLst>
  </p:cSld>
  <p:clrMapOvr>
    <a:masterClrMapping/>
  </p:clrMapOvr>
  <p:transition spd="med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[2-1] 4-column ">
    <p:bg>
      <p:bgPr>
        <a:solidFill>
          <a:srgbClr val="CDE3F5">
            <a:alpha val="4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3F4BCE-E9D5-5962-B6C0-190140306AB7}"/>
              </a:ext>
            </a:extLst>
          </p:cNvPr>
          <p:cNvSpPr/>
          <p:nvPr userDrawn="1"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6190" tIns="76190" rIns="76190" bIns="761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618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16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-4463" y="3429001"/>
            <a:ext cx="3048000" cy="3070861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9F49CCD-E544-2242-BCDB-2F042D52BC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096001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3B347D2-D190-7794-0805-C7BC464E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0" y="381000"/>
            <a:ext cx="2666994" cy="228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36A56-06EB-9301-CDE7-462A8B95E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623060"/>
            <a:ext cx="2476500" cy="1651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2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DAC562A-80C4-5E6D-5055-1BEC0F16832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01" y="-1"/>
            <a:ext cx="9144001" cy="6858000"/>
          </a:xfrm>
          <a:noFill/>
        </p:spPr>
        <p:txBody>
          <a:bodyPr lIns="228600" tIns="45720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D40E2C-915E-9878-0071-C230D000C9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4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7)_Title and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1714500"/>
            <a:ext cx="3048000" cy="5143500"/>
          </a:xfrm>
          <a:noFill/>
        </p:spPr>
        <p:txBody>
          <a:bodyPr lIns="4572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1714500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1714500"/>
            <a:ext cx="3048000" cy="5143500"/>
          </a:xfrm>
          <a:noFill/>
        </p:spPr>
        <p:txBody>
          <a:bodyPr lIns="228600" tIns="0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1714500"/>
            <a:ext cx="3048000" cy="5143500"/>
          </a:xfrm>
          <a:noFill/>
        </p:spPr>
        <p:txBody>
          <a:bodyPr lIns="228600" tIns="0" rIns="4572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2" y="1714500"/>
            <a:ext cx="2975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6" y="1714500"/>
            <a:ext cx="1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tle">
            <a:extLst>
              <a:ext uri="{FF2B5EF4-FFF2-40B4-BE49-F238E27FC236}">
                <a16:creationId xmlns:a16="http://schemas.microsoft.com/office/drawing/2014/main" id="{64341A19-DCFD-4E49-9E0E-E2931E51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381000"/>
            <a:ext cx="8760025" cy="1016000"/>
          </a:xfrm>
        </p:spPr>
        <p:txBody>
          <a:bodyPr/>
          <a:lstStyle>
            <a:lvl1pPr>
              <a:lnSpc>
                <a:spcPct val="100000"/>
              </a:lnSpc>
              <a:defRPr sz="26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E696087-2914-2742-B45C-67DFABB88A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096001"/>
            <a:ext cx="2476500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38D9AC3-22E3-014D-AC23-DA10B62B9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905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701461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[5-1] 1/4 :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0" tIns="38095" rIns="76190" bIns="380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1" y="1714501"/>
            <a:ext cx="8572499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64" indent="-15236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27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091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454" indent="-15236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498"/>
            <a:ext cx="2476500" cy="457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3332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43B2228-E44B-174E-ACE3-83C7FA1232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2" y="6096001"/>
            <a:ext cx="2476497" cy="403861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F25A9B-A1BE-A642-B57F-BF7F96FFE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C646A38-6A99-96E9-3048-36F367A1A9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381000"/>
            <a:ext cx="2476497" cy="27241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8801725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8686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74772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46" indent="0">
              <a:buNone/>
              <a:defRPr/>
            </a:lvl3pPr>
            <a:lvl4pPr marL="579816" indent="0">
              <a:buNone/>
              <a:defRPr/>
            </a:lvl4pPr>
            <a:lvl5pPr marL="84221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46" indent="0">
              <a:buNone/>
              <a:defRPr/>
            </a:lvl3pPr>
            <a:lvl4pPr marL="579816" indent="0">
              <a:buNone/>
              <a:defRPr/>
            </a:lvl4pPr>
            <a:lvl5pPr marL="84221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346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1"/>
            <a:ext cx="2474591" cy="2286794"/>
          </a:xfrm>
        </p:spPr>
        <p:txBody>
          <a:bodyPr/>
          <a:lstStyle>
            <a:lvl1pPr>
              <a:lnSpc>
                <a:spcPct val="100000"/>
              </a:lnSpc>
              <a:defRPr sz="3197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2" y="288039"/>
            <a:ext cx="2481639" cy="2572543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1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2" y="3333751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6" y="288036"/>
            <a:ext cx="2481639" cy="2572542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6" y="3333750"/>
            <a:ext cx="2481639" cy="2476499"/>
          </a:xfrm>
          <a:prstGeom prst="rect">
            <a:avLst/>
          </a:prstGeom>
        </p:spPr>
        <p:txBody>
          <a:bodyPr/>
          <a:lstStyle>
            <a:lvl1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223">
              <a:lnSpc>
                <a:spcPct val="100000"/>
              </a:lnSpc>
              <a:spcBef>
                <a:spcPts val="0"/>
              </a:spcBef>
              <a:defRPr sz="17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22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7097909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[7-2] hd, variable; 2 txt">
    <p:bg>
      <p:bgPr>
        <a:solidFill>
          <a:schemeClr val="bg1">
            <a:alpha val="80303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C008C15D-C6EE-D94C-AED9-A77F48974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651000"/>
            <a:ext cx="5522976" cy="1072896"/>
          </a:xfrm>
        </p:spPr>
        <p:txBody>
          <a:bodyPr/>
          <a:lstStyle>
            <a:lvl1pPr>
              <a:defRPr sz="2333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">
            <a:extLst>
              <a:ext uri="{FF2B5EF4-FFF2-40B4-BE49-F238E27FC236}">
                <a16:creationId xmlns:a16="http://schemas.microsoft.com/office/drawing/2014/main" id="{229935DA-EE12-504A-A42D-8C8FC12B76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0999" y="3429001"/>
            <a:ext cx="5524500" cy="2857499"/>
          </a:xfrm>
        </p:spPr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C1A1368-427E-E729-C688-CEA619FABA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381000"/>
            <a:ext cx="2476497" cy="2285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333" b="0" i="0">
                <a:solidFill>
                  <a:schemeClr val="tx1"/>
                </a:solidFill>
                <a:latin typeface="IBM Plex Sans Medm" panose="020B0503050203000203" pitchFamily="34" charset="0"/>
              </a:defRPr>
            </a:lvl1pPr>
            <a:lvl2pPr>
              <a:defRPr sz="667" b="0" i="0">
                <a:latin typeface="IBM Plex Sans Medm" panose="020B0503050203000203" pitchFamily="34" charset="0"/>
              </a:defRPr>
            </a:lvl2pPr>
            <a:lvl3pPr>
              <a:defRPr sz="667" b="0" i="0">
                <a:latin typeface="IBM Plex Sans Medm" panose="020B0503050203000203" pitchFamily="34" charset="0"/>
              </a:defRPr>
            </a:lvl3pPr>
            <a:lvl4pPr>
              <a:defRPr sz="667" b="0" i="0">
                <a:latin typeface="IBM Plex Sans Medm" panose="020B0503050203000203" pitchFamily="34" charset="0"/>
              </a:defRPr>
            </a:lvl4pPr>
            <a:lvl5pPr>
              <a:defRPr sz="667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optional section header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66B3B21-DCDD-6C45-C936-3B77F3E462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0" y="-2"/>
            <a:ext cx="3044956" cy="6858000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1183E754-C11A-6BDF-8DEA-FD356F968A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42479" y="0"/>
            <a:ext cx="3048000" cy="6857998"/>
          </a:xfrm>
          <a:solidFill>
            <a:srgbClr val="EAF3FB"/>
          </a:solidFill>
        </p:spPr>
        <p:txBody>
          <a:bodyPr lIns="228600" tIns="2057400" rIns="228600"/>
          <a:lstStyle>
            <a:lvl1pPr>
              <a:defRPr sz="1333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333">
                <a:solidFill>
                  <a:schemeClr val="tx1"/>
                </a:solidFill>
              </a:defRPr>
            </a:lvl3pPr>
            <a:lvl4pPr>
              <a:defRPr sz="1333">
                <a:solidFill>
                  <a:schemeClr val="tx1"/>
                </a:solidFill>
              </a:defRPr>
            </a:lvl4pPr>
            <a:lvl5pP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015801FC-5658-C5C5-786B-4628C96C49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0" y="6096001"/>
            <a:ext cx="5522976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570FA5-ABE4-1F5E-07D6-03D74A48F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275" y="6553200"/>
            <a:ext cx="471765" cy="1905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9C4929-34A2-D6C1-7E74-7A8DB82060EC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5" y="1714500"/>
            <a:ext cx="0" cy="457200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523985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3047995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69C09FD-DC20-EDEF-2C18-09AEDB31B5BF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6805" y="3578257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6760348-1734-EC6C-1331-6B3BC699528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44005" y="3451585"/>
            <a:ext cx="3047995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5633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07824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772684"/>
      </p:ext>
    </p:extLst>
  </p:cSld>
  <p:clrMapOvr>
    <a:masterClrMapping/>
  </p:clrMapOvr>
  <p:transition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767273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019480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07711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236834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379144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202898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674916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61023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674687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48109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893155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327442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3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596308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665248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213814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201225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045284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010580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450228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254088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95568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76399"/>
      </p:ext>
    </p:extLst>
  </p:cSld>
  <p:clrMapOvr>
    <a:masterClrMapping/>
  </p:clrMapOvr>
  <p:transition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468326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055033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562241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23335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103956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739776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119775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659844"/>
      </p:ext>
    </p:extLst>
  </p:cSld>
  <p:clrMapOvr>
    <a:masterClrMapping/>
  </p:clrMapOvr>
  <p:transition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161369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596978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444996"/>
      </p:ext>
    </p:extLst>
  </p:cSld>
  <p:clrMapOvr>
    <a:masterClrMapping/>
  </p:clrMapOvr>
  <p:transition spd="med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763687"/>
      </p:ext>
    </p:extLst>
  </p:cSld>
  <p:clrMapOvr>
    <a:masterClrMapping/>
  </p:clrMapOvr>
  <p:transition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646062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485230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997142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073275578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396069778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5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8339681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40284613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207567050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31268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134603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0583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019801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771197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174267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907061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8549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2"/>
            <a:ext cx="549850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20023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9094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24602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77605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324692"/>
      </p:ext>
    </p:extLst>
  </p:cSld>
  <p:clrMapOvr>
    <a:masterClrMapping/>
  </p:clrMapOvr>
  <p:transition spd="med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515806"/>
      </p:ext>
    </p:extLst>
  </p:cSld>
  <p:clrMapOvr>
    <a:masterClrMapping/>
  </p:clrMapOvr>
  <p:transition spd="med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778025"/>
      </p:ext>
    </p:extLst>
  </p:cSld>
  <p:clrMapOvr>
    <a:masterClrMapping/>
  </p:clrMapOvr>
  <p:transition spd="med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9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224658"/>
      </p:ext>
    </p:extLst>
  </p:cSld>
  <p:clrMapOvr>
    <a:masterClrMapping/>
  </p:clrMapOvr>
  <p:transition spd="med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215449"/>
      </p:ext>
    </p:extLst>
  </p:cSld>
  <p:clrMapOvr>
    <a:masterClrMapping/>
  </p:clrMapOvr>
  <p:transition spd="med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766624"/>
      </p:ext>
    </p:extLst>
  </p:cSld>
  <p:clrMapOvr>
    <a:masterClrMapping/>
  </p:clrMapOvr>
  <p:transition spd="med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653228"/>
      </p:ext>
    </p:extLst>
  </p:cSld>
  <p:clrMapOvr>
    <a:masterClrMapping/>
  </p:clrMapOvr>
  <p:transition spd="med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91101"/>
      </p:ext>
    </p:extLst>
  </p:cSld>
  <p:clrMapOvr>
    <a:masterClrMapping/>
  </p:clrMapOvr>
  <p:transition spd="med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10312"/>
            <a:ext cx="8569797" cy="4095750"/>
          </a:xfrm>
        </p:spPr>
        <p:txBody>
          <a:bodyPr/>
          <a:lstStyle>
            <a:lvl1pPr>
              <a:defRPr sz="85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4309"/>
      </p:ext>
    </p:extLst>
  </p:cSld>
  <p:clrMapOvr>
    <a:masterClrMapping/>
  </p:clrMapOvr>
  <p:transition spd="med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 marL="29249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2pPr>
            <a:lvl3pPr marL="54842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3pPr>
            <a:lvl4pPr marL="877472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786492"/>
      </p:ext>
    </p:extLst>
  </p:cSld>
  <p:clrMapOvr>
    <a:masterClrMapping/>
  </p:clrMapOvr>
  <p:transition spd="med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62277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21262"/>
      </p:ext>
    </p:extLst>
  </p:cSld>
  <p:clrMapOvr>
    <a:masterClrMapping/>
  </p:clrMapOvr>
  <p:transition spd="med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9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20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260085"/>
      </p:ext>
    </p:extLst>
  </p:cSld>
  <p:clrMapOvr>
    <a:masterClrMapping/>
  </p:clrMapOvr>
  <p:transition spd="med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8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8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881602"/>
      </p:ext>
    </p:extLst>
  </p:cSld>
  <p:clrMapOvr>
    <a:masterClrMapping/>
  </p:clrMapOvr>
  <p:transition spd="med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274435"/>
      </p:ext>
    </p:extLst>
  </p:cSld>
  <p:clrMapOvr>
    <a:masterClrMapping/>
  </p:clrMapOvr>
  <p:transition spd="med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8" y="4201669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655119"/>
      </p:ext>
    </p:extLst>
  </p:cSld>
  <p:clrMapOvr>
    <a:masterClrMapping/>
  </p:clrMapOvr>
  <p:transition spd="med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12378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151298"/>
      </p:ext>
    </p:extLst>
  </p:cSld>
  <p:clrMapOvr>
    <a:masterClrMapping/>
  </p:clrMapOvr>
  <p:transition spd="med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11053"/>
      </p:ext>
    </p:extLst>
  </p:cSld>
  <p:clrMapOvr>
    <a:masterClrMapping/>
  </p:clrMapOvr>
  <p:transition spd="med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3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898185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5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623062"/>
      </p:ext>
    </p:extLst>
  </p:cSld>
  <p:clrMapOvr>
    <a:masterClrMapping/>
  </p:clrMapOvr>
  <p:transition spd="med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03064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313531"/>
      </p:ext>
    </p:extLst>
  </p:cSld>
  <p:clrMapOvr>
    <a:masterClrMapping/>
  </p:clrMapOvr>
  <p:transition spd="med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445565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288167"/>
      </p:ext>
    </p:extLst>
  </p:cSld>
  <p:clrMapOvr>
    <a:masterClrMapping/>
  </p:clrMapOvr>
  <p:transition spd="med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272471"/>
      </p:ext>
    </p:extLst>
  </p:cSld>
  <p:clrMapOvr>
    <a:masterClrMapping/>
  </p:clrMapOvr>
  <p:transition spd="med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89136"/>
      </p:ext>
    </p:extLst>
  </p:cSld>
  <p:clrMapOvr>
    <a:masterClrMapping/>
  </p:clrMapOvr>
  <p:transition spd="med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3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7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3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622483"/>
      </p:ext>
    </p:extLst>
  </p:cSld>
  <p:clrMapOvr>
    <a:masterClrMapping/>
  </p:clrMapOvr>
  <p:transition spd="med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734080"/>
      </p:ext>
    </p:extLst>
  </p:cSld>
  <p:clrMapOvr>
    <a:masterClrMapping/>
  </p:clrMapOvr>
  <p:transition spd="med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2424408"/>
      </p:ext>
    </p:extLst>
  </p:cSld>
  <p:clrMapOvr>
    <a:masterClrMapping/>
  </p:clrMapOvr>
  <p:transition spd="med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738055"/>
      </p:ext>
    </p:extLst>
  </p:cSld>
  <p:clrMapOvr>
    <a:masterClrMapping/>
  </p:clrMapOvr>
  <p:transition spd="med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903547"/>
      </p:ext>
    </p:extLst>
  </p:cSld>
  <p:clrMapOvr>
    <a:masterClrMapping/>
  </p:clrMapOvr>
  <p:transition spd="med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49760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618925"/>
      </p:ext>
    </p:extLst>
  </p:cSld>
  <p:clrMapOvr>
    <a:masterClrMapping/>
  </p:clrMapOvr>
  <p:transition spd="med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223293"/>
      </p:ext>
    </p:extLst>
  </p:cSld>
  <p:clrMapOvr>
    <a:masterClrMapping/>
  </p:clrMapOvr>
  <p:transition spd="med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1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4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107748"/>
      </p:ext>
    </p:extLst>
  </p:cSld>
  <p:clrMapOvr>
    <a:masterClrMapping/>
  </p:clrMapOvr>
  <p:transition spd="med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446978"/>
      </p:ext>
    </p:extLst>
  </p:cSld>
  <p:clrMapOvr>
    <a:masterClrMapping/>
  </p:clrMapOvr>
  <p:transition spd="med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332612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370934232"/>
      </p:ext>
    </p:extLst>
  </p:cSld>
  <p:clrMapOvr>
    <a:masterClrMapping/>
  </p:clrMapOvr>
  <p:transition spd="med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979701816"/>
      </p:ext>
    </p:extLst>
  </p:cSld>
  <p:clrMapOvr>
    <a:masterClrMapping/>
  </p:clrMapOvr>
  <p:transition spd="med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379545818"/>
      </p:ext>
    </p:extLst>
  </p:cSld>
  <p:clrMapOvr>
    <a:masterClrMapping/>
  </p:clrMapOvr>
  <p:transition spd="med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44434496"/>
      </p:ext>
    </p:extLst>
  </p:cSld>
  <p:clrMapOvr>
    <a:masterClrMapping/>
  </p:clrMapOvr>
  <p:transition spd="med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201942355"/>
      </p:ext>
    </p:extLst>
  </p:cSld>
  <p:clrMapOvr>
    <a:masterClrMapping/>
  </p:clrMapOvr>
  <p:transition spd="med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6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6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6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58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810284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731858"/>
      </p:ext>
    </p:extLst>
  </p:cSld>
  <p:clrMapOvr>
    <a:masterClrMapping/>
  </p:clrMapOvr>
  <p:transition spd="med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30514"/>
      </p:ext>
    </p:extLst>
  </p:cSld>
  <p:clrMapOvr>
    <a:masterClrMapping/>
  </p:clrMapOvr>
  <p:transition spd="med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44215"/>
      </p:ext>
    </p:extLst>
  </p:cSld>
  <p:clrMapOvr>
    <a:masterClrMapping/>
  </p:clrMapOvr>
  <p:transition spd="med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254451"/>
      </p:ext>
    </p:extLst>
  </p:cSld>
  <p:clrMapOvr>
    <a:masterClrMapping/>
  </p:clrMapOvr>
  <p:transition spd="med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5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675787"/>
      </p:ext>
    </p:extLst>
  </p:cSld>
  <p:clrMapOvr>
    <a:masterClrMapping/>
  </p:clrMapOvr>
  <p:transition spd="med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1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70544"/>
      </p:ext>
    </p:extLst>
  </p:cSld>
  <p:clrMapOvr>
    <a:masterClrMapping/>
  </p:clrMapOvr>
  <p:transition spd="med"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11769264" y="6469508"/>
            <a:ext cx="135436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12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24">
              <a:defRPr/>
            </a:pPr>
            <a:r>
              <a:rPr lang="en-US">
                <a:solidFill>
                  <a:srgbClr val="000000"/>
                </a:solidFill>
              </a:rPr>
              <a:t>Group Name / DOC ID / Month XX, 2022 / © 2022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11770048" y="6469508"/>
            <a:ext cx="134652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24">
              <a:defRPr/>
            </a:pPr>
            <a:fld id="{59395FB3-9C97-154F-86B2-7E381B951268}" type="slidenum">
              <a:rPr lang="en-US" smtClean="0">
                <a:solidFill>
                  <a:srgbClr val="000000"/>
                </a:solidFill>
              </a:rPr>
              <a:pPr defTabSz="914324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16707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976481"/>
      </p:ext>
    </p:extLst>
  </p:cSld>
  <p:clrMapOvr>
    <a:masterClrMapping/>
  </p:clrMapOvr>
  <p:transition spd="med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63F10E8-1499-740D-A8B9-6FBDA00D7B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15" y="458"/>
            <a:ext cx="12191185" cy="68584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871C79-AB58-41C2-341A-C1334DEE53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635601"/>
      </p:ext>
    </p:extLst>
  </p:cSld>
  <p:clrMapOvr>
    <a:masterClrMapping/>
  </p:clrMapOvr>
  <p:transition spd="med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8BDD7D3-630A-E299-9D77-EB2142326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08" y="458"/>
            <a:ext cx="12191593" cy="68586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871C79-AB58-41C2-341A-C1334DEE53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347333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67764"/>
      </p:ext>
    </p:extLst>
  </p:cSld>
  <p:clrMapOvr>
    <a:masterClrMapping/>
  </p:clrMapOvr>
  <p:transition spd="med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636ADC-A8A9-6B7A-4C49-489AFC753D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09" y="229"/>
            <a:ext cx="12191591" cy="68586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871C79-AB58-41C2-341A-C1334DEE53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583517"/>
      </p:ext>
    </p:extLst>
  </p:cSld>
  <p:clrMapOvr>
    <a:masterClrMapping/>
  </p:clrMapOvr>
  <p:transition spd="med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7059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652674"/>
      </p:ext>
    </p:extLst>
  </p:cSld>
  <p:clrMapOvr>
    <a:masterClrMapping/>
  </p:clrMapOvr>
  <p:transition spd="med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7059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23812"/>
      </p:ext>
    </p:extLst>
  </p:cSld>
  <p:clrMapOvr>
    <a:masterClrMapping/>
  </p:clrMapOvr>
  <p:transition spd="med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7059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339877"/>
      </p:ext>
    </p:extLst>
  </p:cSld>
  <p:clrMapOvr>
    <a:masterClrMapping/>
  </p:clrMapOvr>
  <p:transition spd="med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7059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9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76707"/>
      </p:ext>
    </p:extLst>
  </p:cSld>
  <p:clrMapOvr>
    <a:masterClrMapping/>
  </p:clrMapOvr>
  <p:transition spd="med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67059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076606"/>
      </p:ext>
    </p:extLst>
  </p:cSld>
  <p:clrMapOvr>
    <a:masterClrMapping/>
  </p:clrMapOvr>
  <p:transition spd="med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67059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E2E42C-FB15-45A9-B792-BB55DF790B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71457" y="6058849"/>
            <a:ext cx="537244" cy="51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848"/>
      </p:ext>
    </p:extLst>
  </p:cSld>
  <p:clrMapOvr>
    <a:masterClrMapping/>
  </p:clrMapOvr>
  <p:transition spd="med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67059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6419" y="6263482"/>
            <a:ext cx="819043" cy="304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15D816-BE97-7FD2-CEF7-14CE76C3F8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887" y="6058849"/>
            <a:ext cx="537244" cy="51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461361"/>
      </p:ext>
    </p:extLst>
  </p:cSld>
  <p:clrMapOvr>
    <a:masterClrMapping/>
  </p:clrMapOvr>
  <p:transition spd="med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709725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0545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209211"/>
      </p:ext>
    </p:extLst>
  </p:cSld>
  <p:clrMapOvr>
    <a:masterClrMapping/>
  </p:clrMapOvr>
  <p:transition spd="med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5" y="191937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74657" y="234853"/>
            <a:ext cx="2476178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23848" y="234853"/>
            <a:ext cx="2474590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09016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969633"/>
      </p:ext>
    </p:extLst>
  </p:cSld>
  <p:clrMapOvr>
    <a:masterClrMapping/>
  </p:clrMapOvr>
  <p:transition spd="med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769374"/>
      </p:ext>
    </p:extLst>
  </p:cSld>
  <p:clrMapOvr>
    <a:masterClrMapping/>
  </p:clrMapOvr>
  <p:transition spd="med"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7" y="160295"/>
            <a:ext cx="8569797" cy="4095750"/>
          </a:xfrm>
        </p:spPr>
        <p:txBody>
          <a:bodyPr/>
          <a:lstStyle>
            <a:lvl1pPr>
              <a:defRPr sz="85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060982"/>
      </p:ext>
    </p:extLst>
  </p:cSld>
  <p:clrMapOvr>
    <a:masterClrMapping/>
  </p:clrMapOvr>
  <p:transition spd="med"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8287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008" y="198976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 marL="29249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2pPr>
            <a:lvl3pPr marL="54842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3pPr>
            <a:lvl4pPr marL="877472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421720"/>
      </p:ext>
    </p:extLst>
  </p:cSld>
  <p:clrMapOvr>
    <a:masterClrMapping/>
  </p:clrMapOvr>
  <p:transition spd="med"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6645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980441"/>
      </p:ext>
    </p:extLst>
  </p:cSld>
  <p:clrMapOvr>
    <a:masterClrMapping/>
  </p:clrMapOvr>
  <p:transition spd="med"/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329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3248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31669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31669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84994"/>
      </p:ext>
    </p:extLst>
  </p:cSld>
  <p:clrMapOvr>
    <a:masterClrMapping/>
  </p:clrMapOvr>
  <p:transition spd="med"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2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29" y="196039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48538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47746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922263"/>
      </p:ext>
    </p:extLst>
  </p:cSld>
  <p:clrMapOvr>
    <a:masterClrMapping/>
  </p:clrMapOvr>
  <p:transition spd="med"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53" y="163677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02005" y="163677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253" y="330113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02005" y="330113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600884"/>
      </p:ext>
    </p:extLst>
  </p:cSld>
  <p:clrMapOvr>
    <a:masterClrMapping/>
  </p:clrMapOvr>
  <p:transition spd="med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3214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31669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34383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29883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2523" y="2081451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2524" y="4189143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57988"/>
      </p:ext>
    </p:extLst>
  </p:cSld>
  <p:clrMapOvr>
    <a:masterClrMapping/>
  </p:clrMapOvr>
  <p:transition spd="med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683185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83185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683185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683185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114488"/>
      </p:ext>
    </p:extLst>
  </p:cSld>
  <p:clrMapOvr>
    <a:masterClrMapping/>
  </p:clrMapOvr>
  <p:transition spd="med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83185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683185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683185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63071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683185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617360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835015"/>
      </p:ext>
    </p:extLst>
  </p:cSld>
  <p:clrMapOvr>
    <a:masterClrMapping/>
  </p:clrMapOvr>
  <p:transition spd="med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83185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683185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683185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50545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50545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50545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220538"/>
      </p:ext>
    </p:extLst>
  </p:cSld>
  <p:clrMapOvr>
    <a:masterClrMapping/>
  </p:clrMapOvr>
  <p:transition spd="med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6808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664396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76922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676922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676922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3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49887"/>
      </p:ext>
    </p:extLst>
  </p:cSld>
  <p:clrMapOvr>
    <a:masterClrMapping/>
  </p:clrMapOvr>
  <p:transition spd="med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5" y="198287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70659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670659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3769" y="198287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357543"/>
      </p:ext>
    </p:extLst>
  </p:cSld>
  <p:clrMapOvr>
    <a:masterClrMapping/>
  </p:clrMapOvr>
  <p:transition spd="med"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658133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1658133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536925"/>
      </p:ext>
    </p:extLst>
  </p:cSld>
  <p:clrMapOvr>
    <a:masterClrMapping/>
  </p:clrMapOvr>
  <p:transition spd="med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2" y="198287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50545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50545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055872"/>
      </p:ext>
    </p:extLst>
  </p:cSld>
  <p:clrMapOvr>
    <a:masterClrMapping/>
  </p:clrMapOvr>
  <p:transition spd="med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736" y="244282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47379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47379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5484"/>
      </p:ext>
    </p:extLst>
  </p:cSld>
  <p:clrMapOvr>
    <a:masterClrMapping/>
  </p:clrMapOvr>
  <p:transition spd="med"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198287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50545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50545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683185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683185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895882"/>
      </p:ext>
    </p:extLst>
  </p:cSld>
  <p:clrMapOvr>
    <a:masterClrMapping/>
  </p:clrMapOvr>
  <p:transition spd="med"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56808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56808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56808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683185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683185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19062"/>
      </p:ext>
    </p:extLst>
  </p:cSld>
  <p:clrMapOvr>
    <a:masterClrMapping/>
  </p:clrMapOvr>
  <p:transition spd="med"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670659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683185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683185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5095" y="198287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7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3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684843"/>
      </p:ext>
    </p:extLst>
  </p:cSld>
  <p:clrMapOvr>
    <a:masterClrMapping/>
  </p:clrMapOvr>
  <p:transition spd="med"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392940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391416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43739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43891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631998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364134"/>
      </p:ext>
    </p:extLst>
  </p:cSld>
  <p:clrMapOvr>
    <a:masterClrMapping/>
  </p:clrMapOvr>
  <p:transition spd="med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784881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50545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50545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83854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83854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50545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101651"/>
      </p:ext>
    </p:extLst>
  </p:cSld>
  <p:clrMapOvr>
    <a:masterClrMapping/>
  </p:clrMapOvr>
  <p:transition spd="med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732209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47379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2427"/>
      </p:ext>
    </p:extLst>
  </p:cSld>
  <p:clrMapOvr>
    <a:masterClrMapping/>
  </p:clrMapOvr>
  <p:transition spd="med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63158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09344"/>
      </p:ext>
    </p:extLst>
  </p:cSld>
  <p:clrMapOvr>
    <a:masterClrMapping/>
  </p:clrMapOvr>
  <p:transition spd="med"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929639"/>
      </p:ext>
    </p:extLst>
  </p:cSld>
  <p:clrMapOvr>
    <a:masterClrMapping/>
  </p:clrMapOvr>
  <p:transition spd="med"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50545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50545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50545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289537"/>
      </p:ext>
    </p:extLst>
  </p:cSld>
  <p:clrMapOvr>
    <a:masterClrMapping/>
  </p:clrMapOvr>
  <p:transition spd="med"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96435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96436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96435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429001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429001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429001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4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102490"/>
      </p:ext>
    </p:extLst>
  </p:cSld>
  <p:clrMapOvr>
    <a:masterClrMapping/>
  </p:clrMapOvr>
  <p:transition spd="med"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50545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50545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89355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3936"/>
      </p:ext>
    </p:extLst>
  </p:cSld>
  <p:clrMapOvr>
    <a:masterClrMapping/>
  </p:clrMapOvr>
  <p:transition spd="med"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737" y="231670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50545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50545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90117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212970"/>
      </p:ext>
    </p:extLst>
  </p:cSld>
  <p:clrMapOvr>
    <a:masterClrMapping/>
  </p:clrMapOvr>
  <p:transition spd="med"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670659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670659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358850268"/>
      </p:ext>
    </p:extLst>
  </p:cSld>
  <p:clrMapOvr>
    <a:masterClrMapping/>
  </p:clrMapOvr>
  <p:transition spd="med"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670659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33189636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232040"/>
      </p:ext>
    </p:extLst>
  </p:cSld>
  <p:clrMapOvr>
    <a:masterClrMapping/>
  </p:clrMapOvr>
  <p:transition spd="med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670659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8783805"/>
      </p:ext>
    </p:extLst>
  </p:cSld>
  <p:clrMapOvr>
    <a:masterClrMapping/>
  </p:clrMapOvr>
  <p:transition spd="med"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23220041"/>
      </p:ext>
    </p:extLst>
  </p:cSld>
  <p:clrMapOvr>
    <a:masterClrMapping/>
  </p:clrMapOvr>
  <p:transition spd="med"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169528382"/>
      </p:ext>
    </p:extLst>
  </p:cSld>
  <p:clrMapOvr>
    <a:masterClrMapping/>
  </p:clrMapOvr>
  <p:transition spd="med"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232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2501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2960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6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232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6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2501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6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2960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798897"/>
      </p:ext>
    </p:extLst>
  </p:cSld>
  <p:clrMapOvr>
    <a:masterClrMapping/>
  </p:clrMapOvr>
  <p:transition spd="med"/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16218"/>
      </p:ext>
    </p:extLst>
  </p:cSld>
  <p:clrMapOvr>
    <a:masterClrMapping/>
  </p:clrMapOvr>
  <p:transition spd="med"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8952" y="248478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59905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569811"/>
      </p:ext>
    </p:extLst>
  </p:cSld>
  <p:clrMapOvr>
    <a:masterClrMapping/>
  </p:clrMapOvr>
  <p:transition spd="med"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213" y="242215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59905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5" y="6402388"/>
            <a:ext cx="2477765" cy="190500"/>
          </a:xfrm>
        </p:spPr>
        <p:txBody>
          <a:bodyPr/>
          <a:lstStyle/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59905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750609"/>
      </p:ext>
    </p:extLst>
  </p:cSld>
  <p:clrMapOvr>
    <a:masterClrMapping/>
  </p:clrMapOvr>
  <p:transition spd="med"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1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60203"/>
      </p:ext>
    </p:extLst>
  </p:cSld>
  <p:clrMapOvr>
    <a:masterClrMapping/>
  </p:clrMapOvr>
  <p:transition spd="med"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0E0E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Think 2023 / 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32580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8" y="3429001"/>
            <a:ext cx="5050130" cy="14511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8" y="5143500"/>
            <a:ext cx="5050130" cy="854870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8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</p:spTree>
    <p:extLst>
      <p:ext uri="{BB962C8B-B14F-4D97-AF65-F5344CB8AC3E}">
        <p14:creationId xmlns:p14="http://schemas.microsoft.com/office/powerpoint/2010/main" val="127245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402786810"/>
      </p:ext>
    </p:extLst>
  </p:cSld>
  <p:clrMapOvr>
    <a:masterClrMapping/>
  </p:clrMapOvr>
  <p:transition spd="med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8" y="3429001"/>
            <a:ext cx="5050130" cy="14511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8" y="5143500"/>
            <a:ext cx="5050130" cy="854870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8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1AC2598-525B-204C-95FB-62C1BD803BA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E16743-7FE4-7DB0-AE65-92E8AEA8C0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3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8B38A97-2CAA-48A7-79F9-9B76C797D4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8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4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9C574D-E3CA-271A-2D3C-AB862EF9A94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BAE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9" tIns="45709" rIns="45709" bIns="45709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8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45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grey,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0E0E0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9" tIns="45709" rIns="45709" bIns="45709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77CB7A-A231-1534-5954-080B621EA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2" y="1093032"/>
            <a:ext cx="2498940" cy="3193219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aphic 5">
            <a:extLst>
              <a:ext uri="{FF2B5EF4-FFF2-40B4-BE49-F238E27FC236}">
                <a16:creationId xmlns:a16="http://schemas.microsoft.com/office/drawing/2014/main" id="{E6726568-1AAC-4883-1825-DDEDA18BDBE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8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7A01B9C-EA60-8D4D-AB93-C092DBE754AD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306717C-6924-0C8A-21A0-C569E6AAC0DC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66FB8A-262C-8896-C2A0-05F728C44295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1D8D11-039B-0465-8C3D-ACC20C043823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1DD1D50-472C-4935-8B92-783AE9E5AC2F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903EEEF-CE48-C4E7-7217-1BE1A5AD6F1C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95B386C-E66C-B8E1-367D-F62E63A1E945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B970690-C730-5B65-76F4-F4E5E9AF8EA5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3CAEF68-F1CF-5981-7291-85BCBE453CE0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1CC5BB-2B13-B3BD-19B7-C3ADDC9468A0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0FAA62-F02D-5AB5-E499-6D60AA797705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2FC2C34-E5BD-C43A-3949-47695E913DE8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4288BC-FE42-684B-4479-86B104A27BAC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5FB2B6-B36D-28AA-110C-399F8C827B77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</p:spTree>
    <p:extLst>
      <p:ext uri="{BB962C8B-B14F-4D97-AF65-F5344CB8AC3E}">
        <p14:creationId xmlns:p14="http://schemas.microsoft.com/office/powerpoint/2010/main" val="189579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5" y="191938"/>
            <a:ext cx="5533226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5475" y="1714501"/>
            <a:ext cx="548568" cy="4283868"/>
          </a:xfrm>
        </p:spPr>
        <p:txBody>
          <a:bodyPr/>
          <a:lstStyle>
            <a:lvl1pPr defTabSz="580535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0697" y="1714501"/>
            <a:ext cx="4788003" cy="4283868"/>
          </a:xfrm>
        </p:spPr>
        <p:txBody>
          <a:bodyPr/>
          <a:lstStyle>
            <a:lvl1pPr defTabSz="580535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F56E4FC-4F4B-6819-0E70-B1E3FCFE1771}"/>
              </a:ext>
            </a:extLst>
          </p:cNvPr>
          <p:cNvGrpSpPr/>
          <p:nvPr userDrawn="1"/>
        </p:nvGrpSpPr>
        <p:grpSpPr>
          <a:xfrm>
            <a:off x="6721558" y="469888"/>
            <a:ext cx="5179175" cy="5340299"/>
            <a:chOff x="13444864" y="939775"/>
            <a:chExt cx="10359699" cy="10680597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C19D446-9B19-9D35-31C5-967D359C48D8}"/>
                </a:ext>
              </a:extLst>
            </p:cNvPr>
            <p:cNvSpPr/>
            <p:nvPr/>
          </p:nvSpPr>
          <p:spPr>
            <a:xfrm>
              <a:off x="17349086" y="767050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4C7E27-E132-CFA4-784E-80F28D9067C6}"/>
                </a:ext>
              </a:extLst>
            </p:cNvPr>
            <p:cNvSpPr/>
            <p:nvPr/>
          </p:nvSpPr>
          <p:spPr>
            <a:xfrm>
              <a:off x="17349086" y="635381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5B2D417-4CC7-D740-8DF7-3FE67DC4106D}"/>
                </a:ext>
              </a:extLst>
            </p:cNvPr>
            <p:cNvSpPr/>
            <p:nvPr/>
          </p:nvSpPr>
          <p:spPr>
            <a:xfrm>
              <a:off x="16032391" y="635381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A2D2D1-B084-06FE-4A84-A027D86BEDF4}"/>
                </a:ext>
              </a:extLst>
            </p:cNvPr>
            <p:cNvSpPr/>
            <p:nvPr/>
          </p:nvSpPr>
          <p:spPr>
            <a:xfrm>
              <a:off x="16032391" y="767050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938E40C-359A-A37F-29E1-EB16CAF3C201}"/>
                </a:ext>
              </a:extLst>
            </p:cNvPr>
            <p:cNvSpPr/>
            <p:nvPr/>
          </p:nvSpPr>
          <p:spPr>
            <a:xfrm>
              <a:off x="17349086" y="1030378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8A44FA-1611-7D81-EF87-01B6ABFDDF54}"/>
                </a:ext>
              </a:extLst>
            </p:cNvPr>
            <p:cNvSpPr/>
            <p:nvPr/>
          </p:nvSpPr>
          <p:spPr>
            <a:xfrm>
              <a:off x="17349086" y="898709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018DDB-59F4-739B-3A29-EA8D360A0F4B}"/>
                </a:ext>
              </a:extLst>
            </p:cNvPr>
            <p:cNvSpPr/>
            <p:nvPr/>
          </p:nvSpPr>
          <p:spPr>
            <a:xfrm>
              <a:off x="16032391" y="898709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07333AF-A0FA-9C4E-078E-FFAA948EB586}"/>
                </a:ext>
              </a:extLst>
            </p:cNvPr>
            <p:cNvSpPr/>
            <p:nvPr/>
          </p:nvSpPr>
          <p:spPr>
            <a:xfrm>
              <a:off x="16032391" y="1030378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E5D0604-71A4-3262-6777-C26A1E4BED09}"/>
                </a:ext>
              </a:extLst>
            </p:cNvPr>
            <p:cNvGrpSpPr/>
            <p:nvPr userDrawn="1"/>
          </p:nvGrpSpPr>
          <p:grpSpPr>
            <a:xfrm>
              <a:off x="19116217" y="8045049"/>
              <a:ext cx="4688346" cy="3575323"/>
              <a:chOff x="18665871" y="6353812"/>
              <a:chExt cx="4688346" cy="3575323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C8CEC6E-2EF3-9151-AD14-A5B1C424012D}"/>
                  </a:ext>
                </a:extLst>
              </p:cNvPr>
              <p:cNvSpPr/>
              <p:nvPr/>
            </p:nvSpPr>
            <p:spPr>
              <a:xfrm>
                <a:off x="20228520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98B6CDA-933B-C2CE-5627-85D68933F21B}"/>
                  </a:ext>
                </a:extLst>
              </p:cNvPr>
              <p:cNvSpPr/>
              <p:nvPr/>
            </p:nvSpPr>
            <p:spPr>
              <a:xfrm>
                <a:off x="21098546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1A88E81-4E6F-DCE8-E2C2-C3BCBC558A77}"/>
                  </a:ext>
                </a:extLst>
              </p:cNvPr>
              <p:cNvSpPr/>
              <p:nvPr/>
            </p:nvSpPr>
            <p:spPr>
              <a:xfrm>
                <a:off x="18665871" y="7515196"/>
                <a:ext cx="1591215" cy="1715533"/>
              </a:xfrm>
              <a:custGeom>
                <a:avLst/>
                <a:gdLst>
                  <a:gd name="connsiteX0" fmla="*/ 358156 w 1384760"/>
                  <a:gd name="connsiteY0" fmla="*/ 455676 h 1492948"/>
                  <a:gd name="connsiteX1" fmla="*/ 16 w 1384760"/>
                  <a:gd name="connsiteY1" fmla="*/ 962787 h 1492948"/>
                  <a:gd name="connsiteX2" fmla="*/ 528367 w 1384760"/>
                  <a:gd name="connsiteY2" fmla="*/ 1492949 h 1492948"/>
                  <a:gd name="connsiteX3" fmla="*/ 1039004 w 1384760"/>
                  <a:gd name="connsiteY3" fmla="*/ 1102900 h 1492948"/>
                  <a:gd name="connsiteX4" fmla="*/ 1384761 w 1384760"/>
                  <a:gd name="connsiteY4" fmla="*/ 0 h 1492948"/>
                  <a:gd name="connsiteX5" fmla="*/ 358156 w 1384760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760" h="1492948">
                    <a:moveTo>
                      <a:pt x="358156" y="455676"/>
                    </a:moveTo>
                    <a:cubicBezTo>
                      <a:pt x="150702" y="547878"/>
                      <a:pt x="-1793" y="714566"/>
                      <a:pt x="16" y="962787"/>
                    </a:cubicBezTo>
                    <a:cubicBezTo>
                      <a:pt x="16" y="1255395"/>
                      <a:pt x="237570" y="1492949"/>
                      <a:pt x="528367" y="1492949"/>
                    </a:cubicBezTo>
                    <a:cubicBezTo>
                      <a:pt x="819166" y="1492949"/>
                      <a:pt x="973472" y="1299686"/>
                      <a:pt x="1039004" y="1102900"/>
                    </a:cubicBezTo>
                    <a:lnTo>
                      <a:pt x="1384761" y="0"/>
                    </a:lnTo>
                    <a:lnTo>
                      <a:pt x="358156" y="45567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E874D3F4-95F3-B3B2-1746-FEECEA5BA626}"/>
                  </a:ext>
                </a:extLst>
              </p:cNvPr>
              <p:cNvSpPr/>
              <p:nvPr/>
            </p:nvSpPr>
            <p:spPr>
              <a:xfrm>
                <a:off x="21762911" y="7515196"/>
                <a:ext cx="1591306" cy="1715533"/>
              </a:xfrm>
              <a:custGeom>
                <a:avLst/>
                <a:gdLst>
                  <a:gd name="connsiteX0" fmla="*/ 1026605 w 1384839"/>
                  <a:gd name="connsiteY0" fmla="*/ 455676 h 1492948"/>
                  <a:gd name="connsiteX1" fmla="*/ 0 w 1384839"/>
                  <a:gd name="connsiteY1" fmla="*/ 0 h 1492948"/>
                  <a:gd name="connsiteX2" fmla="*/ 345758 w 1384839"/>
                  <a:gd name="connsiteY2" fmla="*/ 1102900 h 1492948"/>
                  <a:gd name="connsiteX3" fmla="*/ 858203 w 1384839"/>
                  <a:gd name="connsiteY3" fmla="*/ 1492949 h 1492948"/>
                  <a:gd name="connsiteX4" fmla="*/ 1384840 w 1384839"/>
                  <a:gd name="connsiteY4" fmla="*/ 962787 h 1492948"/>
                  <a:gd name="connsiteX5" fmla="*/ 1026700 w 1384839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839" h="1492948">
                    <a:moveTo>
                      <a:pt x="1026605" y="455676"/>
                    </a:moveTo>
                    <a:lnTo>
                      <a:pt x="0" y="0"/>
                    </a:lnTo>
                    <a:lnTo>
                      <a:pt x="345758" y="1102900"/>
                    </a:lnTo>
                    <a:cubicBezTo>
                      <a:pt x="411385" y="1299686"/>
                      <a:pt x="578073" y="1492949"/>
                      <a:pt x="858203" y="1492949"/>
                    </a:cubicBezTo>
                    <a:cubicBezTo>
                      <a:pt x="1138333" y="1492949"/>
                      <a:pt x="1384840" y="1255300"/>
                      <a:pt x="1384840" y="962787"/>
                    </a:cubicBezTo>
                    <a:cubicBezTo>
                      <a:pt x="1384840" y="714566"/>
                      <a:pt x="1234155" y="547878"/>
                      <a:pt x="1026700" y="4556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F92CEBD-3053-5B9E-A1FB-D34D266A91CA}"/>
                  </a:ext>
                </a:extLst>
              </p:cNvPr>
              <p:cNvSpPr/>
              <p:nvPr/>
            </p:nvSpPr>
            <p:spPr>
              <a:xfrm>
                <a:off x="20328449" y="7195271"/>
                <a:ext cx="1363101" cy="436052"/>
              </a:xfrm>
              <a:custGeom>
                <a:avLst/>
                <a:gdLst>
                  <a:gd name="connsiteX0" fmla="*/ 0 w 1186243"/>
                  <a:gd name="connsiteY0" fmla="*/ 379476 h 379476"/>
                  <a:gd name="connsiteX1" fmla="*/ 1186244 w 1186243"/>
                  <a:gd name="connsiteY1" fmla="*/ 379476 h 379476"/>
                  <a:gd name="connsiteX2" fmla="*/ 592265 w 1186243"/>
                  <a:gd name="connsiteY2" fmla="*/ 0 h 379476"/>
                  <a:gd name="connsiteX3" fmla="*/ 0 w 1186243"/>
                  <a:gd name="connsiteY3" fmla="*/ 379476 h 37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6">
                    <a:moveTo>
                      <a:pt x="0" y="379476"/>
                    </a:moveTo>
                    <a:lnTo>
                      <a:pt x="1186244" y="379476"/>
                    </a:lnTo>
                    <a:cubicBezTo>
                      <a:pt x="1081658" y="156020"/>
                      <a:pt x="854678" y="0"/>
                      <a:pt x="592265" y="0"/>
                    </a:cubicBezTo>
                    <a:cubicBezTo>
                      <a:pt x="329851" y="0"/>
                      <a:pt x="104680" y="156020"/>
                      <a:pt x="0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564CE5C-12FD-B249-1D0D-F2A069CD6792}"/>
                  </a:ext>
                </a:extLst>
              </p:cNvPr>
              <p:cNvSpPr/>
              <p:nvPr/>
            </p:nvSpPr>
            <p:spPr>
              <a:xfrm>
                <a:off x="20257087" y="7981786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843E3C8-1E4C-DCB0-2AE2-A81D7CB66805}"/>
                  </a:ext>
                </a:extLst>
              </p:cNvPr>
              <p:cNvSpPr/>
              <p:nvPr/>
            </p:nvSpPr>
            <p:spPr>
              <a:xfrm>
                <a:off x="20257087" y="8737653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9BE9E2B-4614-4D59-8F8C-EC0679543296}"/>
                  </a:ext>
                </a:extLst>
              </p:cNvPr>
              <p:cNvSpPr/>
              <p:nvPr/>
            </p:nvSpPr>
            <p:spPr>
              <a:xfrm>
                <a:off x="20328558" y="9493084"/>
                <a:ext cx="1363101" cy="436051"/>
              </a:xfrm>
              <a:custGeom>
                <a:avLst/>
                <a:gdLst>
                  <a:gd name="connsiteX0" fmla="*/ 593979 w 1186243"/>
                  <a:gd name="connsiteY0" fmla="*/ 379476 h 379475"/>
                  <a:gd name="connsiteX1" fmla="*/ 1186244 w 1186243"/>
                  <a:gd name="connsiteY1" fmla="*/ 0 h 379475"/>
                  <a:gd name="connsiteX2" fmla="*/ 0 w 1186243"/>
                  <a:gd name="connsiteY2" fmla="*/ 0 h 379475"/>
                  <a:gd name="connsiteX3" fmla="*/ 593979 w 1186243"/>
                  <a:gd name="connsiteY3" fmla="*/ 379476 h 379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5">
                    <a:moveTo>
                      <a:pt x="593979" y="379476"/>
                    </a:moveTo>
                    <a:cubicBezTo>
                      <a:pt x="856393" y="379476"/>
                      <a:pt x="1081563" y="223456"/>
                      <a:pt x="1186244" y="0"/>
                    </a:cubicBezTo>
                    <a:lnTo>
                      <a:pt x="0" y="0"/>
                    </a:lnTo>
                    <a:cubicBezTo>
                      <a:pt x="104584" y="223456"/>
                      <a:pt x="331565" y="379476"/>
                      <a:pt x="593979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79D554C5-4D78-A521-DE6D-6976CCC21952}"/>
                </a:ext>
              </a:extLst>
            </p:cNvPr>
            <p:cNvGrpSpPr/>
            <p:nvPr userDrawn="1"/>
          </p:nvGrpSpPr>
          <p:grpSpPr>
            <a:xfrm>
              <a:off x="18629724" y="3527195"/>
              <a:ext cx="2587419" cy="2587313"/>
              <a:chOff x="18629724" y="3527195"/>
              <a:chExt cx="2587419" cy="2587313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5A806E2-6E9A-03EC-ECFB-67CA83F60271}"/>
                  </a:ext>
                </a:extLst>
              </p:cNvPr>
              <p:cNvSpPr/>
              <p:nvPr/>
            </p:nvSpPr>
            <p:spPr>
              <a:xfrm>
                <a:off x="18629724" y="4820852"/>
                <a:ext cx="1293763" cy="1293656"/>
              </a:xfrm>
              <a:custGeom>
                <a:avLst/>
                <a:gdLst>
                  <a:gd name="connsiteX0" fmla="*/ 0 w 1145857"/>
                  <a:gd name="connsiteY0" fmla="*/ 1145762 h 1145762"/>
                  <a:gd name="connsiteX1" fmla="*/ 1145858 w 1145857"/>
                  <a:gd name="connsiteY1" fmla="*/ 1145762 h 1145762"/>
                  <a:gd name="connsiteX2" fmla="*/ 0 w 1145857"/>
                  <a:gd name="connsiteY2" fmla="*/ 0 h 1145762"/>
                  <a:gd name="connsiteX3" fmla="*/ 0 w 1145857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1145762"/>
                    </a:moveTo>
                    <a:lnTo>
                      <a:pt x="1145858" y="1145762"/>
                    </a:lnTo>
                    <a:lnTo>
                      <a:pt x="0" y="0"/>
                    </a:lnTo>
                    <a:lnTo>
                      <a:pt x="0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34F7C97-D53E-0D16-A284-6ADEFE52914F}"/>
                  </a:ext>
                </a:extLst>
              </p:cNvPr>
              <p:cNvSpPr/>
              <p:nvPr/>
            </p:nvSpPr>
            <p:spPr>
              <a:xfrm>
                <a:off x="18629724" y="3527195"/>
                <a:ext cx="1293763" cy="1293656"/>
              </a:xfrm>
              <a:custGeom>
                <a:avLst/>
                <a:gdLst>
                  <a:gd name="connsiteX0" fmla="*/ 0 w 1145857"/>
                  <a:gd name="connsiteY0" fmla="*/ 0 h 1145762"/>
                  <a:gd name="connsiteX1" fmla="*/ 0 w 1145857"/>
                  <a:gd name="connsiteY1" fmla="*/ 1145762 h 1145762"/>
                  <a:gd name="connsiteX2" fmla="*/ 1145858 w 1145857"/>
                  <a:gd name="connsiteY2" fmla="*/ 0 h 1145762"/>
                  <a:gd name="connsiteX3" fmla="*/ 0 w 1145857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0"/>
                    </a:moveTo>
                    <a:lnTo>
                      <a:pt x="0" y="1145762"/>
                    </a:lnTo>
                    <a:lnTo>
                      <a:pt x="114585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8FCE339-B37E-CC68-C265-877A24B1FFBA}"/>
                  </a:ext>
                </a:extLst>
              </p:cNvPr>
              <p:cNvSpPr/>
              <p:nvPr/>
            </p:nvSpPr>
            <p:spPr>
              <a:xfrm>
                <a:off x="19923487" y="3527195"/>
                <a:ext cx="1293656" cy="1293656"/>
              </a:xfrm>
              <a:custGeom>
                <a:avLst/>
                <a:gdLst>
                  <a:gd name="connsiteX0" fmla="*/ 0 w 1145762"/>
                  <a:gd name="connsiteY0" fmla="*/ 0 h 1145762"/>
                  <a:gd name="connsiteX1" fmla="*/ 1145762 w 1145762"/>
                  <a:gd name="connsiteY1" fmla="*/ 1145762 h 1145762"/>
                  <a:gd name="connsiteX2" fmla="*/ 1145762 w 1145762"/>
                  <a:gd name="connsiteY2" fmla="*/ 0 h 1145762"/>
                  <a:gd name="connsiteX3" fmla="*/ 0 w 1145762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0" y="0"/>
                    </a:moveTo>
                    <a:lnTo>
                      <a:pt x="1145762" y="1145762"/>
                    </a:lnTo>
                    <a:lnTo>
                      <a:pt x="114576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18D16EF-9D55-AE23-E4CE-EE677917EACB}"/>
                  </a:ext>
                </a:extLst>
              </p:cNvPr>
              <p:cNvSpPr/>
              <p:nvPr/>
            </p:nvSpPr>
            <p:spPr>
              <a:xfrm>
                <a:off x="19923487" y="4820852"/>
                <a:ext cx="1293656" cy="1293656"/>
              </a:xfrm>
              <a:custGeom>
                <a:avLst/>
                <a:gdLst>
                  <a:gd name="connsiteX0" fmla="*/ 1145762 w 1145762"/>
                  <a:gd name="connsiteY0" fmla="*/ 1145762 h 1145762"/>
                  <a:gd name="connsiteX1" fmla="*/ 1145762 w 1145762"/>
                  <a:gd name="connsiteY1" fmla="*/ 0 h 1145762"/>
                  <a:gd name="connsiteX2" fmla="*/ 0 w 1145762"/>
                  <a:gd name="connsiteY2" fmla="*/ 1145762 h 1145762"/>
                  <a:gd name="connsiteX3" fmla="*/ 1145762 w 1145762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1145762" y="1145762"/>
                    </a:moveTo>
                    <a:lnTo>
                      <a:pt x="1145762" y="0"/>
                    </a:lnTo>
                    <a:lnTo>
                      <a:pt x="0" y="1145762"/>
                    </a:lnTo>
                    <a:lnTo>
                      <a:pt x="1145762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C7BFF6C-B251-D366-5456-A88198077E4E}"/>
                </a:ext>
              </a:extLst>
            </p:cNvPr>
            <p:cNvSpPr/>
            <p:nvPr userDrawn="1"/>
          </p:nvSpPr>
          <p:spPr>
            <a:xfrm>
              <a:off x="21217143" y="939775"/>
              <a:ext cx="1293763" cy="2587419"/>
            </a:xfrm>
            <a:custGeom>
              <a:avLst/>
              <a:gdLst>
                <a:gd name="connsiteX0" fmla="*/ 1145858 w 1145857"/>
                <a:gd name="connsiteY0" fmla="*/ 1145762 h 2291619"/>
                <a:gd name="connsiteX1" fmla="*/ 0 w 1145857"/>
                <a:gd name="connsiteY1" fmla="*/ 0 h 2291619"/>
                <a:gd name="connsiteX2" fmla="*/ 0 w 1145857"/>
                <a:gd name="connsiteY2" fmla="*/ 2291620 h 2291619"/>
                <a:gd name="connsiteX3" fmla="*/ 1145762 w 1145857"/>
                <a:gd name="connsiteY3" fmla="*/ 1145858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2291619">
                  <a:moveTo>
                    <a:pt x="1145858" y="1145762"/>
                  </a:moveTo>
                  <a:cubicBezTo>
                    <a:pt x="1145858" y="513112"/>
                    <a:pt x="632746" y="0"/>
                    <a:pt x="0" y="0"/>
                  </a:cubicBezTo>
                  <a:lnTo>
                    <a:pt x="0" y="2291620"/>
                  </a:lnTo>
                  <a:cubicBezTo>
                    <a:pt x="632746" y="2291620"/>
                    <a:pt x="1145762" y="1778699"/>
                    <a:pt x="1145762" y="1145858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5E291BF-A9FF-E67A-5CF9-D17412BE7D09}"/>
                </a:ext>
              </a:extLst>
            </p:cNvPr>
            <p:cNvSpPr/>
            <p:nvPr userDrawn="1"/>
          </p:nvSpPr>
          <p:spPr>
            <a:xfrm>
              <a:off x="22510907" y="939775"/>
              <a:ext cx="1293656" cy="2587419"/>
            </a:xfrm>
            <a:custGeom>
              <a:avLst/>
              <a:gdLst>
                <a:gd name="connsiteX0" fmla="*/ 1145762 w 1145762"/>
                <a:gd name="connsiteY0" fmla="*/ 2291620 h 2291619"/>
                <a:gd name="connsiteX1" fmla="*/ 1145762 w 1145762"/>
                <a:gd name="connsiteY1" fmla="*/ 0 h 2291619"/>
                <a:gd name="connsiteX2" fmla="*/ 0 w 1145762"/>
                <a:gd name="connsiteY2" fmla="*/ 1145762 h 2291619"/>
                <a:gd name="connsiteX3" fmla="*/ 1145762 w 1145762"/>
                <a:gd name="connsiteY3" fmla="*/ 2291525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762" h="2291619">
                  <a:moveTo>
                    <a:pt x="1145762" y="2291620"/>
                  </a:moveTo>
                  <a:lnTo>
                    <a:pt x="1145762" y="0"/>
                  </a:lnTo>
                  <a:cubicBezTo>
                    <a:pt x="513016" y="0"/>
                    <a:pt x="0" y="513112"/>
                    <a:pt x="0" y="1145762"/>
                  </a:cubicBezTo>
                  <a:cubicBezTo>
                    <a:pt x="0" y="1778413"/>
                    <a:pt x="513112" y="2291525"/>
                    <a:pt x="1145762" y="2291525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65723C4-9949-A789-0B35-B727B72E3A78}"/>
                </a:ext>
              </a:extLst>
            </p:cNvPr>
            <p:cNvSpPr/>
            <p:nvPr userDrawn="1"/>
          </p:nvSpPr>
          <p:spPr>
            <a:xfrm>
              <a:off x="19059687" y="2464761"/>
              <a:ext cx="211432" cy="211217"/>
            </a:xfrm>
            <a:custGeom>
              <a:avLst/>
              <a:gdLst>
                <a:gd name="connsiteX0" fmla="*/ 38100 w 187261"/>
                <a:gd name="connsiteY0" fmla="*/ 187071 h 187070"/>
                <a:gd name="connsiteX1" fmla="*/ 93631 w 187261"/>
                <a:gd name="connsiteY1" fmla="*/ 131540 h 187070"/>
                <a:gd name="connsiteX2" fmla="*/ 149257 w 187261"/>
                <a:gd name="connsiteY2" fmla="*/ 187071 h 187070"/>
                <a:gd name="connsiteX3" fmla="*/ 187262 w 187261"/>
                <a:gd name="connsiteY3" fmla="*/ 149162 h 187070"/>
                <a:gd name="connsiteX4" fmla="*/ 131636 w 187261"/>
                <a:gd name="connsiteY4" fmla="*/ 93535 h 187070"/>
                <a:gd name="connsiteX5" fmla="*/ 187262 w 187261"/>
                <a:gd name="connsiteY5" fmla="*/ 37909 h 187070"/>
                <a:gd name="connsiteX6" fmla="*/ 149257 w 187261"/>
                <a:gd name="connsiteY6" fmla="*/ 0 h 187070"/>
                <a:gd name="connsiteX7" fmla="*/ 93631 w 187261"/>
                <a:gd name="connsiteY7" fmla="*/ 55531 h 187070"/>
                <a:gd name="connsiteX8" fmla="*/ 38100 w 187261"/>
                <a:gd name="connsiteY8" fmla="*/ 0 h 187070"/>
                <a:gd name="connsiteX9" fmla="*/ 0 w 187261"/>
                <a:gd name="connsiteY9" fmla="*/ 37909 h 187070"/>
                <a:gd name="connsiteX10" fmla="*/ 55626 w 187261"/>
                <a:gd name="connsiteY10" fmla="*/ 93535 h 187070"/>
                <a:gd name="connsiteX11" fmla="*/ 0 w 187261"/>
                <a:gd name="connsiteY11" fmla="*/ 149162 h 187070"/>
                <a:gd name="connsiteX12" fmla="*/ 38100 w 187261"/>
                <a:gd name="connsiteY12" fmla="*/ 187071 h 187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261" h="187070">
                  <a:moveTo>
                    <a:pt x="38100" y="187071"/>
                  </a:moveTo>
                  <a:lnTo>
                    <a:pt x="93631" y="131540"/>
                  </a:lnTo>
                  <a:lnTo>
                    <a:pt x="149257" y="187071"/>
                  </a:lnTo>
                  <a:lnTo>
                    <a:pt x="187262" y="149162"/>
                  </a:lnTo>
                  <a:lnTo>
                    <a:pt x="131636" y="93535"/>
                  </a:lnTo>
                  <a:lnTo>
                    <a:pt x="187262" y="37909"/>
                  </a:lnTo>
                  <a:lnTo>
                    <a:pt x="149257" y="0"/>
                  </a:lnTo>
                  <a:lnTo>
                    <a:pt x="93631" y="55531"/>
                  </a:lnTo>
                  <a:lnTo>
                    <a:pt x="38100" y="0"/>
                  </a:lnTo>
                  <a:lnTo>
                    <a:pt x="0" y="37909"/>
                  </a:lnTo>
                  <a:lnTo>
                    <a:pt x="55626" y="93535"/>
                  </a:lnTo>
                  <a:lnTo>
                    <a:pt x="0" y="149162"/>
                  </a:lnTo>
                  <a:lnTo>
                    <a:pt x="38100" y="18707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A7F88A4-A960-85A9-3922-B941EE48E198}"/>
                </a:ext>
              </a:extLst>
            </p:cNvPr>
            <p:cNvSpPr/>
            <p:nvPr userDrawn="1"/>
          </p:nvSpPr>
          <p:spPr>
            <a:xfrm>
              <a:off x="20660061" y="2127822"/>
              <a:ext cx="211325" cy="211325"/>
            </a:xfrm>
            <a:custGeom>
              <a:avLst/>
              <a:gdLst>
                <a:gd name="connsiteX0" fmla="*/ 149162 w 187166"/>
                <a:gd name="connsiteY0" fmla="*/ 0 h 187166"/>
                <a:gd name="connsiteX1" fmla="*/ 93536 w 187166"/>
                <a:gd name="connsiteY1" fmla="*/ 55531 h 187166"/>
                <a:gd name="connsiteX2" fmla="*/ 38005 w 187166"/>
                <a:gd name="connsiteY2" fmla="*/ 0 h 187166"/>
                <a:gd name="connsiteX3" fmla="*/ 0 w 187166"/>
                <a:gd name="connsiteY3" fmla="*/ 37909 h 187166"/>
                <a:gd name="connsiteX4" fmla="*/ 55626 w 187166"/>
                <a:gd name="connsiteY4" fmla="*/ 93536 h 187166"/>
                <a:gd name="connsiteX5" fmla="*/ 0 w 187166"/>
                <a:gd name="connsiteY5" fmla="*/ 149161 h 187166"/>
                <a:gd name="connsiteX6" fmla="*/ 38005 w 187166"/>
                <a:gd name="connsiteY6" fmla="*/ 187166 h 187166"/>
                <a:gd name="connsiteX7" fmla="*/ 93536 w 187166"/>
                <a:gd name="connsiteY7" fmla="*/ 131540 h 187166"/>
                <a:gd name="connsiteX8" fmla="*/ 149162 w 187166"/>
                <a:gd name="connsiteY8" fmla="*/ 187166 h 187166"/>
                <a:gd name="connsiteX9" fmla="*/ 187166 w 187166"/>
                <a:gd name="connsiteY9" fmla="*/ 149161 h 187166"/>
                <a:gd name="connsiteX10" fmla="*/ 131540 w 187166"/>
                <a:gd name="connsiteY10" fmla="*/ 93536 h 187166"/>
                <a:gd name="connsiteX11" fmla="*/ 187166 w 187166"/>
                <a:gd name="connsiteY11" fmla="*/ 37909 h 187166"/>
                <a:gd name="connsiteX12" fmla="*/ 149162 w 187166"/>
                <a:gd name="connsiteY12" fmla="*/ 0 h 187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166" h="187166">
                  <a:moveTo>
                    <a:pt x="149162" y="0"/>
                  </a:moveTo>
                  <a:lnTo>
                    <a:pt x="93536" y="55531"/>
                  </a:lnTo>
                  <a:lnTo>
                    <a:pt x="38005" y="0"/>
                  </a:lnTo>
                  <a:lnTo>
                    <a:pt x="0" y="37909"/>
                  </a:lnTo>
                  <a:lnTo>
                    <a:pt x="55626" y="93536"/>
                  </a:lnTo>
                  <a:lnTo>
                    <a:pt x="0" y="149161"/>
                  </a:lnTo>
                  <a:lnTo>
                    <a:pt x="38005" y="187166"/>
                  </a:lnTo>
                  <a:lnTo>
                    <a:pt x="93536" y="131540"/>
                  </a:lnTo>
                  <a:lnTo>
                    <a:pt x="149162" y="187166"/>
                  </a:lnTo>
                  <a:lnTo>
                    <a:pt x="187166" y="149161"/>
                  </a:lnTo>
                  <a:lnTo>
                    <a:pt x="131540" y="93536"/>
                  </a:lnTo>
                  <a:lnTo>
                    <a:pt x="187166" y="37909"/>
                  </a:lnTo>
                  <a:lnTo>
                    <a:pt x="149162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0529A54-DBAB-0013-DE16-8EA9BCE6137E}"/>
                </a:ext>
              </a:extLst>
            </p:cNvPr>
            <p:cNvSpPr/>
            <p:nvPr userDrawn="1"/>
          </p:nvSpPr>
          <p:spPr>
            <a:xfrm>
              <a:off x="18629724" y="939775"/>
              <a:ext cx="2587527" cy="2587312"/>
            </a:xfrm>
            <a:custGeom>
              <a:avLst/>
              <a:gdLst>
                <a:gd name="connsiteX0" fmla="*/ 2237899 w 2291715"/>
                <a:gd name="connsiteY0" fmla="*/ 1145762 h 2291524"/>
                <a:gd name="connsiteX1" fmla="*/ 1145858 w 2291715"/>
                <a:gd name="connsiteY1" fmla="*/ 2237899 h 2291524"/>
                <a:gd name="connsiteX2" fmla="*/ 53721 w 2291715"/>
                <a:gd name="connsiteY2" fmla="*/ 1145762 h 2291524"/>
                <a:gd name="connsiteX3" fmla="*/ 1145858 w 2291715"/>
                <a:gd name="connsiteY3" fmla="*/ 53721 h 2291524"/>
                <a:gd name="connsiteX4" fmla="*/ 1898904 w 2291715"/>
                <a:gd name="connsiteY4" fmla="*/ 354806 h 2291524"/>
                <a:gd name="connsiteX5" fmla="*/ 1673066 w 2291715"/>
                <a:gd name="connsiteY5" fmla="*/ 580644 h 2291524"/>
                <a:gd name="connsiteX6" fmla="*/ 1145858 w 2291715"/>
                <a:gd name="connsiteY6" fmla="*/ 372999 h 2291524"/>
                <a:gd name="connsiteX7" fmla="*/ 372999 w 2291715"/>
                <a:gd name="connsiteY7" fmla="*/ 1145858 h 2291524"/>
                <a:gd name="connsiteX8" fmla="*/ 388715 w 2291715"/>
                <a:gd name="connsiteY8" fmla="*/ 1301496 h 2291524"/>
                <a:gd name="connsiteX9" fmla="*/ 441293 w 2291715"/>
                <a:gd name="connsiteY9" fmla="*/ 1290828 h 2291524"/>
                <a:gd name="connsiteX10" fmla="*/ 426720 w 2291715"/>
                <a:gd name="connsiteY10" fmla="*/ 1145858 h 2291524"/>
                <a:gd name="connsiteX11" fmla="*/ 1145762 w 2291715"/>
                <a:gd name="connsiteY11" fmla="*/ 426720 h 2291524"/>
                <a:gd name="connsiteX12" fmla="*/ 1634966 w 2291715"/>
                <a:gd name="connsiteY12" fmla="*/ 618744 h 2291524"/>
                <a:gd name="connsiteX13" fmla="*/ 1408938 w 2291715"/>
                <a:gd name="connsiteY13" fmla="*/ 844772 h 2291524"/>
                <a:gd name="connsiteX14" fmla="*/ 994601 w 2291715"/>
                <a:gd name="connsiteY14" fmla="*/ 776764 h 2291524"/>
                <a:gd name="connsiteX15" fmla="*/ 922020 w 2291715"/>
                <a:gd name="connsiteY15" fmla="*/ 745998 h 2291524"/>
                <a:gd name="connsiteX16" fmla="*/ 820579 w 2291715"/>
                <a:gd name="connsiteY16" fmla="*/ 847439 h 2291524"/>
                <a:gd name="connsiteX17" fmla="*/ 834295 w 2291715"/>
                <a:gd name="connsiteY17" fmla="*/ 897446 h 2291524"/>
                <a:gd name="connsiteX18" fmla="*/ 745903 w 2291715"/>
                <a:gd name="connsiteY18" fmla="*/ 1145762 h 2291524"/>
                <a:gd name="connsiteX19" fmla="*/ 1145762 w 2291715"/>
                <a:gd name="connsiteY19" fmla="*/ 1545622 h 2291524"/>
                <a:gd name="connsiteX20" fmla="*/ 1545622 w 2291715"/>
                <a:gd name="connsiteY20" fmla="*/ 1145762 h 2291524"/>
                <a:gd name="connsiteX21" fmla="*/ 1491901 w 2291715"/>
                <a:gd name="connsiteY21" fmla="*/ 1145762 h 2291524"/>
                <a:gd name="connsiteX22" fmla="*/ 1145762 w 2291715"/>
                <a:gd name="connsiteY22" fmla="*/ 1491901 h 2291524"/>
                <a:gd name="connsiteX23" fmla="*/ 799624 w 2291715"/>
                <a:gd name="connsiteY23" fmla="*/ 1145762 h 2291524"/>
                <a:gd name="connsiteX24" fmla="*/ 872585 w 2291715"/>
                <a:gd name="connsiteY24" fmla="*/ 935450 h 2291524"/>
                <a:gd name="connsiteX25" fmla="*/ 921925 w 2291715"/>
                <a:gd name="connsiteY25" fmla="*/ 948785 h 2291524"/>
                <a:gd name="connsiteX26" fmla="*/ 1023366 w 2291715"/>
                <a:gd name="connsiteY26" fmla="*/ 847344 h 2291524"/>
                <a:gd name="connsiteX27" fmla="*/ 1020413 w 2291715"/>
                <a:gd name="connsiteY27" fmla="*/ 824008 h 2291524"/>
                <a:gd name="connsiteX28" fmla="*/ 1370838 w 2291715"/>
                <a:gd name="connsiteY28" fmla="*/ 882777 h 2291524"/>
                <a:gd name="connsiteX29" fmla="*/ 1195578 w 2291715"/>
                <a:gd name="connsiteY29" fmla="*/ 1057942 h 2291524"/>
                <a:gd name="connsiteX30" fmla="*/ 1145667 w 2291715"/>
                <a:gd name="connsiteY30" fmla="*/ 1044321 h 2291524"/>
                <a:gd name="connsiteX31" fmla="*/ 1044226 w 2291715"/>
                <a:gd name="connsiteY31" fmla="*/ 1145762 h 2291524"/>
                <a:gd name="connsiteX32" fmla="*/ 1145667 w 2291715"/>
                <a:gd name="connsiteY32" fmla="*/ 1247204 h 2291524"/>
                <a:gd name="connsiteX33" fmla="*/ 1247108 w 2291715"/>
                <a:gd name="connsiteY33" fmla="*/ 1145762 h 2291524"/>
                <a:gd name="connsiteX34" fmla="*/ 1233488 w 2291715"/>
                <a:gd name="connsiteY34" fmla="*/ 1095947 h 2291524"/>
                <a:gd name="connsiteX35" fmla="*/ 2059972 w 2291715"/>
                <a:gd name="connsiteY35" fmla="*/ 269653 h 2291524"/>
                <a:gd name="connsiteX36" fmla="*/ 2021967 w 2291715"/>
                <a:gd name="connsiteY36" fmla="*/ 231743 h 2291524"/>
                <a:gd name="connsiteX37" fmla="*/ 1936909 w 2291715"/>
                <a:gd name="connsiteY37" fmla="*/ 316897 h 2291524"/>
                <a:gd name="connsiteX38" fmla="*/ 1145858 w 2291715"/>
                <a:gd name="connsiteY38" fmla="*/ 0 h 2291524"/>
                <a:gd name="connsiteX39" fmla="*/ 0 w 2291715"/>
                <a:gd name="connsiteY39" fmla="*/ 1145762 h 2291524"/>
                <a:gd name="connsiteX40" fmla="*/ 1145858 w 2291715"/>
                <a:gd name="connsiteY40" fmla="*/ 2291525 h 2291524"/>
                <a:gd name="connsiteX41" fmla="*/ 2291715 w 2291715"/>
                <a:gd name="connsiteY41" fmla="*/ 1145762 h 2291524"/>
                <a:gd name="connsiteX42" fmla="*/ 2237994 w 2291715"/>
                <a:gd name="connsiteY42" fmla="*/ 1145762 h 2291524"/>
                <a:gd name="connsiteX43" fmla="*/ 922020 w 2291715"/>
                <a:gd name="connsiteY43" fmla="*/ 895160 h 2291524"/>
                <a:gd name="connsiteX44" fmla="*/ 874300 w 2291715"/>
                <a:gd name="connsiteY44" fmla="*/ 847439 h 2291524"/>
                <a:gd name="connsiteX45" fmla="*/ 922020 w 2291715"/>
                <a:gd name="connsiteY45" fmla="*/ 799719 h 2291524"/>
                <a:gd name="connsiteX46" fmla="*/ 969740 w 2291715"/>
                <a:gd name="connsiteY46" fmla="*/ 847439 h 2291524"/>
                <a:gd name="connsiteX47" fmla="*/ 922020 w 2291715"/>
                <a:gd name="connsiteY47" fmla="*/ 895160 h 2291524"/>
                <a:gd name="connsiteX48" fmla="*/ 1145858 w 2291715"/>
                <a:gd name="connsiteY48" fmla="*/ 1193578 h 2291524"/>
                <a:gd name="connsiteX49" fmla="*/ 1098137 w 2291715"/>
                <a:gd name="connsiteY49" fmla="*/ 1145858 h 2291524"/>
                <a:gd name="connsiteX50" fmla="*/ 1145858 w 2291715"/>
                <a:gd name="connsiteY50" fmla="*/ 1098137 h 2291524"/>
                <a:gd name="connsiteX51" fmla="*/ 1193578 w 2291715"/>
                <a:gd name="connsiteY51" fmla="*/ 1145858 h 2291524"/>
                <a:gd name="connsiteX52" fmla="*/ 1145858 w 2291715"/>
                <a:gd name="connsiteY52" fmla="*/ 1193578 h 229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291715" h="2291524">
                  <a:moveTo>
                    <a:pt x="2237899" y="1145762"/>
                  </a:moveTo>
                  <a:cubicBezTo>
                    <a:pt x="2237899" y="1747933"/>
                    <a:pt x="1748028" y="2237899"/>
                    <a:pt x="1145858" y="2237899"/>
                  </a:cubicBezTo>
                  <a:cubicBezTo>
                    <a:pt x="543687" y="2237899"/>
                    <a:pt x="53721" y="1748028"/>
                    <a:pt x="53721" y="1145762"/>
                  </a:cubicBezTo>
                  <a:cubicBezTo>
                    <a:pt x="53721" y="543497"/>
                    <a:pt x="543687" y="53721"/>
                    <a:pt x="1145858" y="53721"/>
                  </a:cubicBezTo>
                  <a:cubicBezTo>
                    <a:pt x="1428560" y="53721"/>
                    <a:pt x="1694974" y="160401"/>
                    <a:pt x="1898904" y="354806"/>
                  </a:cubicBezTo>
                  <a:lnTo>
                    <a:pt x="1673066" y="580644"/>
                  </a:lnTo>
                  <a:cubicBezTo>
                    <a:pt x="1529525" y="446532"/>
                    <a:pt x="1343311" y="372999"/>
                    <a:pt x="1145858" y="372999"/>
                  </a:cubicBezTo>
                  <a:cubicBezTo>
                    <a:pt x="719709" y="372999"/>
                    <a:pt x="372999" y="719709"/>
                    <a:pt x="372999" y="1145858"/>
                  </a:cubicBezTo>
                  <a:cubicBezTo>
                    <a:pt x="372999" y="1198150"/>
                    <a:pt x="378333" y="1250537"/>
                    <a:pt x="388715" y="1301496"/>
                  </a:cubicBezTo>
                  <a:lnTo>
                    <a:pt x="441293" y="1290828"/>
                  </a:lnTo>
                  <a:cubicBezTo>
                    <a:pt x="431578" y="1243298"/>
                    <a:pt x="426720" y="1194530"/>
                    <a:pt x="426720" y="1145858"/>
                  </a:cubicBezTo>
                  <a:cubicBezTo>
                    <a:pt x="426720" y="749332"/>
                    <a:pt x="749332" y="426720"/>
                    <a:pt x="1145762" y="426720"/>
                  </a:cubicBezTo>
                  <a:cubicBezTo>
                    <a:pt x="1328928" y="426720"/>
                    <a:pt x="1501616" y="494729"/>
                    <a:pt x="1634966" y="618744"/>
                  </a:cubicBezTo>
                  <a:lnTo>
                    <a:pt x="1408938" y="844772"/>
                  </a:lnTo>
                  <a:cubicBezTo>
                    <a:pt x="1296734" y="746474"/>
                    <a:pt x="1132332" y="720757"/>
                    <a:pt x="994601" y="776764"/>
                  </a:cubicBezTo>
                  <a:cubicBezTo>
                    <a:pt x="976122" y="757809"/>
                    <a:pt x="950500" y="745998"/>
                    <a:pt x="922020" y="745998"/>
                  </a:cubicBezTo>
                  <a:cubicBezTo>
                    <a:pt x="866108" y="745998"/>
                    <a:pt x="820579" y="791528"/>
                    <a:pt x="820579" y="847439"/>
                  </a:cubicBezTo>
                  <a:cubicBezTo>
                    <a:pt x="820579" y="865727"/>
                    <a:pt x="825818" y="882682"/>
                    <a:pt x="834295" y="897446"/>
                  </a:cubicBezTo>
                  <a:cubicBezTo>
                    <a:pt x="777907" y="968121"/>
                    <a:pt x="745903" y="1054989"/>
                    <a:pt x="745903" y="1145762"/>
                  </a:cubicBezTo>
                  <a:cubicBezTo>
                    <a:pt x="745903" y="1366266"/>
                    <a:pt x="925354" y="1545622"/>
                    <a:pt x="1145762" y="1545622"/>
                  </a:cubicBezTo>
                  <a:cubicBezTo>
                    <a:pt x="1366171" y="1545622"/>
                    <a:pt x="1545622" y="1366266"/>
                    <a:pt x="1545622" y="1145762"/>
                  </a:cubicBezTo>
                  <a:lnTo>
                    <a:pt x="1491901" y="1145762"/>
                  </a:lnTo>
                  <a:cubicBezTo>
                    <a:pt x="1491901" y="1336643"/>
                    <a:pt x="1336643" y="1491901"/>
                    <a:pt x="1145762" y="1491901"/>
                  </a:cubicBezTo>
                  <a:cubicBezTo>
                    <a:pt x="954881" y="1491901"/>
                    <a:pt x="799624" y="1336643"/>
                    <a:pt x="799624" y="1145762"/>
                  </a:cubicBezTo>
                  <a:cubicBezTo>
                    <a:pt x="799624" y="1069086"/>
                    <a:pt x="826103" y="995839"/>
                    <a:pt x="872585" y="935450"/>
                  </a:cubicBezTo>
                  <a:cubicBezTo>
                    <a:pt x="887254" y="943737"/>
                    <a:pt x="903923" y="948785"/>
                    <a:pt x="921925" y="948785"/>
                  </a:cubicBezTo>
                  <a:cubicBezTo>
                    <a:pt x="977837" y="948785"/>
                    <a:pt x="1023366" y="903256"/>
                    <a:pt x="1023366" y="847344"/>
                  </a:cubicBezTo>
                  <a:cubicBezTo>
                    <a:pt x="1023366" y="839248"/>
                    <a:pt x="1022223" y="831533"/>
                    <a:pt x="1020413" y="824008"/>
                  </a:cubicBezTo>
                  <a:cubicBezTo>
                    <a:pt x="1137190" y="778859"/>
                    <a:pt x="1275302" y="800767"/>
                    <a:pt x="1370838" y="882777"/>
                  </a:cubicBezTo>
                  <a:lnTo>
                    <a:pt x="1195578" y="1057942"/>
                  </a:lnTo>
                  <a:cubicBezTo>
                    <a:pt x="1180814" y="1049465"/>
                    <a:pt x="1163860" y="1044321"/>
                    <a:pt x="1145667" y="1044321"/>
                  </a:cubicBezTo>
                  <a:cubicBezTo>
                    <a:pt x="1089755" y="1044321"/>
                    <a:pt x="1044226" y="1089851"/>
                    <a:pt x="1044226" y="1145762"/>
                  </a:cubicBezTo>
                  <a:cubicBezTo>
                    <a:pt x="1044226" y="1201674"/>
                    <a:pt x="1089755" y="1247204"/>
                    <a:pt x="1145667" y="1247204"/>
                  </a:cubicBezTo>
                  <a:cubicBezTo>
                    <a:pt x="1201579" y="1247204"/>
                    <a:pt x="1247108" y="1201674"/>
                    <a:pt x="1247108" y="1145762"/>
                  </a:cubicBezTo>
                  <a:cubicBezTo>
                    <a:pt x="1247108" y="1127570"/>
                    <a:pt x="1241965" y="1110710"/>
                    <a:pt x="1233488" y="1095947"/>
                  </a:cubicBezTo>
                  <a:lnTo>
                    <a:pt x="2059972" y="269653"/>
                  </a:lnTo>
                  <a:lnTo>
                    <a:pt x="2021967" y="231743"/>
                  </a:lnTo>
                  <a:lnTo>
                    <a:pt x="1936909" y="316897"/>
                  </a:lnTo>
                  <a:cubicBezTo>
                    <a:pt x="1722787" y="112300"/>
                    <a:pt x="1442942" y="0"/>
                    <a:pt x="1145858" y="0"/>
                  </a:cubicBezTo>
                  <a:cubicBezTo>
                    <a:pt x="514064" y="0"/>
                    <a:pt x="0" y="513969"/>
                    <a:pt x="0" y="1145762"/>
                  </a:cubicBezTo>
                  <a:cubicBezTo>
                    <a:pt x="0" y="1777556"/>
                    <a:pt x="514064" y="2291525"/>
                    <a:pt x="1145858" y="2291525"/>
                  </a:cubicBezTo>
                  <a:cubicBezTo>
                    <a:pt x="1777651" y="2291525"/>
                    <a:pt x="2291715" y="1777556"/>
                    <a:pt x="2291715" y="1145762"/>
                  </a:cubicBezTo>
                  <a:lnTo>
                    <a:pt x="2237994" y="1145762"/>
                  </a:lnTo>
                  <a:close/>
                  <a:moveTo>
                    <a:pt x="922020" y="895160"/>
                  </a:moveTo>
                  <a:cubicBezTo>
                    <a:pt x="895731" y="895160"/>
                    <a:pt x="874300" y="873728"/>
                    <a:pt x="874300" y="847439"/>
                  </a:cubicBezTo>
                  <a:cubicBezTo>
                    <a:pt x="874300" y="821150"/>
                    <a:pt x="895731" y="799719"/>
                    <a:pt x="922020" y="799719"/>
                  </a:cubicBezTo>
                  <a:cubicBezTo>
                    <a:pt x="948309" y="799719"/>
                    <a:pt x="969740" y="821150"/>
                    <a:pt x="969740" y="847439"/>
                  </a:cubicBezTo>
                  <a:cubicBezTo>
                    <a:pt x="969740" y="873728"/>
                    <a:pt x="948309" y="895160"/>
                    <a:pt x="922020" y="895160"/>
                  </a:cubicBezTo>
                  <a:close/>
                  <a:moveTo>
                    <a:pt x="1145858" y="1193578"/>
                  </a:moveTo>
                  <a:cubicBezTo>
                    <a:pt x="1119569" y="1193578"/>
                    <a:pt x="1098137" y="1172147"/>
                    <a:pt x="1098137" y="1145858"/>
                  </a:cubicBezTo>
                  <a:cubicBezTo>
                    <a:pt x="1098137" y="1119569"/>
                    <a:pt x="1119569" y="1098137"/>
                    <a:pt x="1145858" y="1098137"/>
                  </a:cubicBezTo>
                  <a:cubicBezTo>
                    <a:pt x="1172147" y="1098137"/>
                    <a:pt x="1193578" y="1119569"/>
                    <a:pt x="1193578" y="1145858"/>
                  </a:cubicBezTo>
                  <a:cubicBezTo>
                    <a:pt x="1193578" y="1172147"/>
                    <a:pt x="1172147" y="1193578"/>
                    <a:pt x="1145858" y="119357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6BB473-166A-42B3-8194-00FCC7D6B498}"/>
                </a:ext>
              </a:extLst>
            </p:cNvPr>
            <p:cNvSpPr/>
            <p:nvPr userDrawn="1"/>
          </p:nvSpPr>
          <p:spPr>
            <a:xfrm>
              <a:off x="19225414" y="2395931"/>
              <a:ext cx="1553268" cy="710226"/>
            </a:xfrm>
            <a:custGeom>
              <a:avLst/>
              <a:gdLst>
                <a:gd name="connsiteX0" fmla="*/ 618268 w 1375695"/>
                <a:gd name="connsiteY0" fmla="*/ 628936 h 629031"/>
                <a:gd name="connsiteX1" fmla="*/ 1375696 w 1375695"/>
                <a:gd name="connsiteY1" fmla="*/ 10668 h 629031"/>
                <a:gd name="connsiteX2" fmla="*/ 1323118 w 1375695"/>
                <a:gd name="connsiteY2" fmla="*/ 0 h 629031"/>
                <a:gd name="connsiteX3" fmla="*/ 618268 w 1375695"/>
                <a:gd name="connsiteY3" fmla="*/ 575310 h 629031"/>
                <a:gd name="connsiteX4" fmla="*/ 42958 w 1375695"/>
                <a:gd name="connsiteY4" fmla="*/ 287655 h 629031"/>
                <a:gd name="connsiteX5" fmla="*/ 0 w 1375695"/>
                <a:gd name="connsiteY5" fmla="*/ 319945 h 629031"/>
                <a:gd name="connsiteX6" fmla="*/ 618268 w 1375695"/>
                <a:gd name="connsiteY6" fmla="*/ 629031 h 62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5695" h="629031">
                  <a:moveTo>
                    <a:pt x="618268" y="628936"/>
                  </a:moveTo>
                  <a:cubicBezTo>
                    <a:pt x="984409" y="628936"/>
                    <a:pt x="1302925" y="368903"/>
                    <a:pt x="1375696" y="10668"/>
                  </a:cubicBezTo>
                  <a:lnTo>
                    <a:pt x="1323118" y="0"/>
                  </a:lnTo>
                  <a:cubicBezTo>
                    <a:pt x="1255395" y="333375"/>
                    <a:pt x="958977" y="575310"/>
                    <a:pt x="618268" y="575310"/>
                  </a:cubicBezTo>
                  <a:cubicBezTo>
                    <a:pt x="389954" y="575310"/>
                    <a:pt x="180213" y="470440"/>
                    <a:pt x="42958" y="287655"/>
                  </a:cubicBezTo>
                  <a:lnTo>
                    <a:pt x="0" y="319945"/>
                  </a:lnTo>
                  <a:cubicBezTo>
                    <a:pt x="147542" y="516350"/>
                    <a:pt x="372904" y="629031"/>
                    <a:pt x="618268" y="62903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08B538A9-9697-FB61-BACA-1B2A24BE21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44864" y="3527195"/>
              <a:ext cx="2587527" cy="2587527"/>
            </a:xfrm>
            <a:prstGeom prst="rect">
              <a:avLst/>
            </a:prstGeom>
          </p:spPr>
        </p:pic>
      </p:grp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FA6A4E4-9CC1-7010-E902-B213741D09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9250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5" y="191938"/>
            <a:ext cx="5533226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20" y="1714501"/>
            <a:ext cx="548568" cy="4283868"/>
          </a:xfrm>
        </p:spPr>
        <p:txBody>
          <a:bodyPr/>
          <a:lstStyle>
            <a:lvl1pPr defTabSz="580535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6143" y="1714501"/>
            <a:ext cx="4774589" cy="4283868"/>
          </a:xfrm>
        </p:spPr>
        <p:txBody>
          <a:bodyPr/>
          <a:lstStyle>
            <a:lvl1pPr defTabSz="580535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35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43B4043-0F2A-71C6-31DB-7C981D1C19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4947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5546867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4EB72A9C-9B01-E367-54B6-234C54421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922" y="1714500"/>
            <a:ext cx="5533776" cy="428387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DECF69D-F8A2-BA29-C92F-56CF66F1D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1714500"/>
            <a:ext cx="5531953" cy="428387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04A6F85-6D8A-FD77-39BD-252A2FB61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2095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7" y="160296"/>
            <a:ext cx="8569796" cy="4095751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15E15240-CB4B-3EBC-59A0-A3009A5392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4973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009" y="2570958"/>
            <a:ext cx="5520317" cy="3427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53" indent="-292553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7" indent="-292553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5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175240-12A7-12D7-DC4F-B715F7430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5C9BB08-694B-5D15-5524-4AF48C832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9249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6646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AD5B3F4-41FA-5B40-DA62-5B54E0897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7032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63162469"/>
      </p:ext>
    </p:extLst>
  </p:cSld>
  <p:clrMapOvr>
    <a:masterClrMapping/>
  </p:clrMapOvr>
  <p:transition spd="med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734503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9C054CF-9453-850A-6B65-8421B46079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5703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429901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FFF437B-D167-4852-CD55-FDFC9AB2E9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3300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7345035" cy="1285171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93683E6-4962-57E0-9658-36D986D693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9807" y="1999457"/>
            <a:ext cx="4946005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22783DF-B709-0768-BAFA-FEDE312037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7775" y="1999457"/>
            <a:ext cx="4942039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A62BE5F-1F51-450E-D8FE-040CFAFD9A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3137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627" y="1226287"/>
            <a:ext cx="9145984" cy="3088539"/>
          </a:xfrm>
        </p:spPr>
        <p:txBody>
          <a:bodyPr wrap="square" anchor="b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2296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06" y="4237793"/>
            <a:ext cx="9143206" cy="1354218"/>
          </a:xfrm>
        </p:spPr>
        <p:txBody>
          <a:bodyPr wrap="square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759DCE3-F7D4-4DD5-12DC-26287105A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5998370"/>
            <a:ext cx="2475384" cy="594248"/>
          </a:xfrm>
        </p:spPr>
        <p:txBody>
          <a:bodyPr anchor="b">
            <a:noAutofit/>
          </a:bodyPr>
          <a:lstStyle>
            <a:lvl1pPr algn="l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8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7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5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F32310DD-37C8-4053-C9FB-4595BDA354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522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015" y="288924"/>
            <a:ext cx="8687464" cy="3088539"/>
          </a:xfrm>
        </p:spPr>
        <p:txBody>
          <a:bodyPr wrap="square" anchor="t">
            <a:spAutoFit/>
          </a:bodyPr>
          <a:lstStyle>
            <a:lvl1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2296" b="0" i="0" u="none" strike="noStrike" cap="none" spc="0" baseline="0" dirty="0">
                <a:solidFill>
                  <a:schemeClr val="accent1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831" y="3470610"/>
            <a:ext cx="5514869" cy="135421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94B6EDC-B303-90FD-527D-B63F2FB20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3831" y="5712620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8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7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5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5850FE5-BCBA-DE93-BED8-F673B3DE7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4277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329" y="4649724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3248" y="4648200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31670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8" y="231670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174D841-F2E5-EFB2-5B7C-4BF603920F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0064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2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30" y="196039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6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70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8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7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5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6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48539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147746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D9A9B55-BFC0-A207-C833-97029A85A6B1}"/>
              </a:ext>
            </a:extLst>
          </p:cNvPr>
          <p:cNvCxnSpPr/>
          <p:nvPr userDrawn="1"/>
        </p:nvCxnSpPr>
        <p:spPr bwMode="auto">
          <a:xfrm>
            <a:off x="304760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876AAE83-5BC1-2B8F-9D74-FFCF44A99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384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2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30" y="196039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6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70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8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7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5" indent="-73138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6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48539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147746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5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D17A823-2B35-9F67-4977-560B8AF64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4259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52" y="163678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02006" y="163678"/>
            <a:ext cx="8602695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8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68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86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252" y="3301131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02006" y="3301131"/>
            <a:ext cx="8602695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8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68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86" indent="-393118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CEC7706-69F2-D92D-BB0A-0E924C894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E53AD30-014A-7A4A-CB78-34E988BBC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829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3215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70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31670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34384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29884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2523" y="2081450"/>
            <a:ext cx="2475384" cy="142875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2524" y="4189142"/>
            <a:ext cx="2475383" cy="142875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38711FA-13D6-9104-7A8A-D8FB49141F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170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5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44408052"/>
      </p:ext>
    </p:extLst>
  </p:cSld>
  <p:clrMapOvr>
    <a:masterClrMapping/>
  </p:clrMapOvr>
  <p:transition spd="med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2571750"/>
            <a:ext cx="5049180" cy="337263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571750"/>
            <a:ext cx="5047593" cy="337263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5EC4A52-7835-D22D-8B95-DC00FB768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7345035" cy="1285171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868EE6-6B0C-277D-E71F-ED7D51D306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8739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s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3429001"/>
            <a:ext cx="5049180" cy="256937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3429001"/>
            <a:ext cx="5047593" cy="256937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79CF79E9-58BB-513E-43E9-E0BEE12B458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4780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22459F1-A8D7-D6F0-9077-040A2C233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734503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FA3EE5FA-E03D-2868-F43C-AED3641C30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4780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A670BDF-CD12-E7E2-0D14-69CE028ED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7183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1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2571751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2571751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79092D4-BF8A-268D-DBA5-27434837ECD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571752"/>
            <a:ext cx="0" cy="256161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8" y="2573082"/>
            <a:ext cx="0" cy="257041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458299-F48C-A427-FFF4-B96192C603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2307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114846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3391047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3391047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3D239E8C-BDAD-3BA7-69BA-6E9D9922A76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52358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F2607C-C2D8-FFBC-278F-61D7DB611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416718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646E100-F22C-3F1E-673A-CE8E02105E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7999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8176892-FFF9-AD2F-96B8-DCCD56B20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8429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114846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24720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2824720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2824720"/>
            <a:ext cx="3487981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0490D2-C450-EA05-A628-8CDD83FB950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824719"/>
            <a:ext cx="0" cy="316277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D95C4A-640F-44BD-E7DB-7952B40B47E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8" y="2824719"/>
            <a:ext cx="0" cy="31736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080BDB-2578-19DC-62DC-21A64E466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0066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middl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54298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1379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48459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C66A411-C374-F3F3-B9CB-8D8D477D2E17}"/>
              </a:ext>
            </a:extLst>
          </p:cNvPr>
          <p:cNvGrpSpPr/>
          <p:nvPr userDrawn="1"/>
        </p:nvGrpSpPr>
        <p:grpSpPr>
          <a:xfrm>
            <a:off x="6093684" y="288926"/>
            <a:ext cx="3049126" cy="5709444"/>
            <a:chOff x="12188952" y="592079"/>
            <a:chExt cx="6099048" cy="514349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594739"/>
              <a:ext cx="0" cy="5140838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592079"/>
              <a:ext cx="0" cy="5121374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D0F0F89-7318-2CE8-B2F0-DDA405BDB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4798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488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5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7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7AA5A9F-1FF4-B8F4-1347-735214DFF06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55187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DE1C342-B84B-FDDF-9C31-E2203F3C7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2998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488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5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7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3"/>
            <a:ext cx="2476178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08C075F-C93C-07FC-A0F1-23C5342F3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8370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888" y="2675701"/>
            <a:ext cx="3334903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1809" y="2674938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887" y="5147889"/>
            <a:ext cx="3334904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1809" y="5146366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887" y="17247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1808" y="17247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887" y="419234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1808" y="419386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1714500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857626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2EBAB1D-E41A-FCE6-D13F-87955CDFE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20573" cy="129054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7895912-82BE-A180-A2EE-6DED0F5F5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4599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,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392940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391416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43739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43891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9D960E5-FC34-1896-E12A-39C4324B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8238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179576893"/>
      </p:ext>
    </p:extLst>
  </p:cSld>
  <p:clrMapOvr>
    <a:masterClrMapping/>
  </p:clrMapOvr>
  <p:transition spd="med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4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/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6BF4ADBE-C76F-07CC-C4CC-D239D2827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CD69A79-BC15-190C-75BA-2D47B6CE6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1465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2BAB8C9-7E2A-46DD-2399-A214C4EDF57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4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2FD89A00-A4D6-01CC-82BF-001A1713F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D0D49E6-7CA5-18FC-9FD9-9EDA2C4F4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4663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732210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80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4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FDB2FE0-AFF0-BFA9-D6AF-6EE97A0FE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2640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732210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3" y="3390118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80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4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D5B5BDD-5197-7883-EE7F-D7F36FB380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6041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4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71339B-1289-A98F-A8E9-18E75F20CC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9381E76D-106C-BA22-3DB6-BDB470E423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0537F81-8B08-E380-9886-248A3F5A38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7F24CA7C-9A8A-3826-A6D8-832F13B51C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4EA17C1-7C6A-EADF-3AE7-5FB11928A9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1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0A6016D-5972-8DF4-5161-9603737C24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02BE911-8CA1-63D9-87E1-79F338003B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1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CD010D72-78B3-A919-7182-D247E192AE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F912CB5-9AEA-5E2A-695E-22242ABFD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0EFC0-23D9-0677-68B9-049DAD024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4767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4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8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911862E-A2C3-ECD7-75E8-8FEE3975B7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68FBA42A-6CC5-2CB9-C4CD-8740B49D27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BA3EB2-38CB-AEA9-4C56-94D1BED179E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AE91AB7D-3FEE-8981-240A-6212AAB5EC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7DB3F66-3532-DCE9-CCEA-0147232859A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1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8136C62A-4C1D-2114-2E09-44619F4D66C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BDADD72-EBAA-EA47-0009-F65A6B65327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1"/>
            <a:ext cx="2476178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B1A2F75F-9FE1-576E-054E-377235CA92F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F411D71-CE56-FDDB-5D7A-0B4FCB60E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F4021BC-B93D-E7C5-8CD9-867115C763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0987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2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44007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AD2A69D-35AD-8E1B-0055-B0347A82F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4694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57938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2" y="257938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57938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57938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2"/>
            <a:ext cx="6095207" cy="3423090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11AF24D8-8C1C-AC4D-FDF1-A8E4A6089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3149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775697"/>
            <a:ext cx="2474591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775697"/>
            <a:ext cx="2474591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775697"/>
            <a:ext cx="2474591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775697"/>
            <a:ext cx="2474591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2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824720"/>
            <a:ext cx="6095207" cy="3170120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67972C7-64C8-D5D5-2649-7E5F519CF3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9232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lumns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1"/>
            <a:ext cx="247459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2571751"/>
            <a:ext cx="247459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2571751"/>
            <a:ext cx="247459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2571751"/>
            <a:ext cx="2474591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1"/>
            <a:ext cx="6095207" cy="2571750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D56867-D9F9-62A0-FDB4-E4779C462D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3441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800949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356905667"/>
      </p:ext>
    </p:extLst>
  </p:cSld>
  <p:clrMapOvr>
    <a:masterClrMapping/>
  </p:clrMapOvr>
  <p:transition spd="med"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4024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144832"/>
            <a:ext cx="0" cy="285000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143359"/>
            <a:ext cx="0" cy="283921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6C01522-DE85-D621-1A24-68D327BD5D3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AE5020-4074-8876-8683-891205A358C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6350AB9-B76B-2829-7B40-4FD74E8B6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9323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429001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B74D7F9F-BB15-3385-5E6C-4CE8DD6A0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FA762C-F9AF-4EF8-280A-565699475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2020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50" y="24510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54FD6A5-B609-A859-DE01-D0AB39948E1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3986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58F0260-951E-161B-8456-A4302710F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4244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50" y="245102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2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8FBD17-65B3-D61E-4BFF-911D4D8DED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429001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62A38210-751E-ABDD-BE11-802CF10EB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319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CA50B6-671E-953F-D715-5F31CF9D8E8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71A181-117D-E38D-D96B-5F09AE6C2D8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3986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D7569E8-33F0-2927-457E-FFB6E90A49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8D2F3D-0843-CCA0-431C-15C29EDEB95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8CA66-514D-2E7F-1BD4-92DF3C0CAC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3"/>
            <a:ext cx="2476178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EA1519-7C3A-C0B5-EC85-1F164DCBB1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3"/>
            <a:ext cx="2476178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BE2A62D-EE41-8456-8F8E-593D0972F7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2"/>
            <a:ext cx="2476178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E91CAE2-40F2-60D7-69AC-2C6398FA41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2"/>
            <a:ext cx="2476178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C07212A-8B97-6593-5714-26AB990D75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C0BC29DE-57B9-0A75-BFEA-0C952625F4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233F6872-B424-BD61-A41F-831F1D82DA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4230AF7-3A67-D259-C8A5-048B4C99BCB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2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5E93364-38AF-969E-6B64-185F78D95C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1659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781215D9-34B4-1F5A-0399-298CBDF4B6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1C79233-D105-4FF6-25BB-315818AE71C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2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D2A4AF67-AB66-94A8-89EE-8BF6C3098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92FCE89-12F9-7035-F272-8BB205D9FC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3"/>
            <a:ext cx="2476178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C1F736C-7EB3-13DE-8823-F8841C6854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3"/>
            <a:ext cx="2476178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166BF4A-D88E-D58D-4040-26C37F5FA3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2"/>
            <a:ext cx="2476178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305D0A6-0FE2-CEAF-A8B7-47FFE11C02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2"/>
            <a:ext cx="2476178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30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61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9" indent="-20113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14A5EFB-64AB-5848-667E-F3D05D9C834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CA52D6E-E63B-87DB-A7A3-1B72A54C7E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7461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righ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7501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53D1387-1AEB-51D7-32CA-2489D148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5524575" cy="580008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8C492E8-5CB5-C92B-6CD6-CCDEF8E48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1675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lef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84126" y="28336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4EF684-B51F-B632-828D-3BB519723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95" y="198287"/>
            <a:ext cx="5524575" cy="580008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147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552378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173B9F7-2E22-2E34-07D9-72BDB8C0D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4713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552378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2BEBD3A-FD57-328F-D077-9C1473E69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6114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519019"/>
      </p:ext>
    </p:extLst>
  </p:cSld>
  <p:clrMapOvr>
    <a:masterClrMapping/>
  </p:clrMapOvr>
  <p:transition spd="med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1714500"/>
            <a:ext cx="5523781" cy="428387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47FBC7-360F-2702-981E-C16694B31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4775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1714500"/>
            <a:ext cx="2474591" cy="42838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CB70A75-1208-361D-E0D0-FE0258712A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1714500"/>
            <a:ext cx="2474591" cy="42838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5E00C45-1EE0-DD75-8559-149730229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8347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11D002-59D0-4C77-B98C-16790A8D0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5524575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2466BD5-32E9-58C2-F347-B997CDC9CD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247459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71407-3C73-F448-3289-4677C96FF4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2049999"/>
            <a:ext cx="247459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9121D0-84A4-C276-51D6-B82635070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2755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s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F1062D6-5670-E376-5181-FACE84388D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1670660"/>
            <a:ext cx="2477765" cy="432771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A89EF34-F2E4-1534-281A-F12601CCE8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4600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670660"/>
            <a:ext cx="2477765" cy="432771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3AA7FF-0113-F5C1-9CF1-3E28A9EDE5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8080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86EB8B-4F70-72DC-4A10-ADEC0AD0B7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838201"/>
            <a:ext cx="2477765" cy="516017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FC889-BCBA-9820-7C00-9CAFC3CDC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8713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838201"/>
            <a:ext cx="2477765" cy="516017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FD01A40-3A7E-CCA0-FBA4-E986F12F1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1315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300" y="1714500"/>
            <a:ext cx="11617400" cy="4857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86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494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5FAAEB1-AD67-488F-2517-86CE845CF1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7999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C7BD80C-5F12-B9E7-5E65-ACB7DFAC73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031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65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862746"/>
      </p:ext>
    </p:extLst>
  </p:cSld>
  <p:clrMapOvr>
    <a:masterClrMapping/>
  </p:clrMapOvr>
  <p:transition spd="med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1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18580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1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AF9F0B2-E79B-2280-4DAE-E1C97D65A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348473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9B21D27-BCEE-C074-614C-F99B502BD5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5270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FF59F3-4E78-4974-C05E-2C2C59B1D5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23238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3CAF370-33EE-D67D-E96F-733E956E2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97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8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5418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8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F168869-82BA-2297-7E72-FE2F22677B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7999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E7519B3-44AE-7C8E-AE29-6E9908A86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2E62052-683C-471D-3996-B3F66EC771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5253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CDD7D6-2616-D68F-1F6D-551050ED93D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83206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CA27042-6765-7A94-2E7D-BA41F8D1D7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6840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8866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116" y="450"/>
            <a:ext cx="6092693" cy="30579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B9CB0EE-399D-E7B8-85E6-488055A857C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4" y="3058436"/>
            <a:ext cx="3038393" cy="30402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06E546E-2AFE-C74E-3532-5D6612A3AD8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10647" y="3058436"/>
            <a:ext cx="6080559" cy="30402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2492940" cy="151621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5036" y="3429001"/>
            <a:ext cx="2479763" cy="2569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678E61A-FAE0-02C2-9E52-B553A1B787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28523" y="247895"/>
            <a:ext cx="2479763" cy="2569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63D1EFE-4D07-775A-BAD0-C2C3361DC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2707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904466-2B5F-6EA8-820B-F755AB4A7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9A7587F-6D7B-BAB0-F192-BC642D3467EC}"/>
              </a:ext>
            </a:extLst>
          </p:cNvPr>
          <p:cNvGrpSpPr/>
          <p:nvPr userDrawn="1"/>
        </p:nvGrpSpPr>
        <p:grpSpPr>
          <a:xfrm>
            <a:off x="6380919" y="888579"/>
            <a:ext cx="5534487" cy="5080843"/>
            <a:chOff x="14598826" y="3810064"/>
            <a:chExt cx="7999302" cy="7342668"/>
          </a:xfrm>
        </p:grpSpPr>
        <p:sp>
          <p:nvSpPr>
            <p:cNvPr id="6" name="Graphic 10">
              <a:extLst>
                <a:ext uri="{FF2B5EF4-FFF2-40B4-BE49-F238E27FC236}">
                  <a16:creationId xmlns:a16="http://schemas.microsoft.com/office/drawing/2014/main" id="{A0698D66-5EF7-21B4-8CF1-23BA7E356F60}"/>
                </a:ext>
              </a:extLst>
            </p:cNvPr>
            <p:cNvSpPr/>
            <p:nvPr/>
          </p:nvSpPr>
          <p:spPr>
            <a:xfrm rot="16200000">
              <a:off x="19736094" y="740186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7" name="Graphic 10">
              <a:extLst>
                <a:ext uri="{FF2B5EF4-FFF2-40B4-BE49-F238E27FC236}">
                  <a16:creationId xmlns:a16="http://schemas.microsoft.com/office/drawing/2014/main" id="{79B7D8A0-6A61-AABD-38B0-A377886B73B3}"/>
                </a:ext>
              </a:extLst>
            </p:cNvPr>
            <p:cNvSpPr/>
            <p:nvPr/>
          </p:nvSpPr>
          <p:spPr>
            <a:xfrm rot="5400000">
              <a:off x="19736094" y="826389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8" name="Graphic 15">
              <a:extLst>
                <a:ext uri="{FF2B5EF4-FFF2-40B4-BE49-F238E27FC236}">
                  <a16:creationId xmlns:a16="http://schemas.microsoft.com/office/drawing/2014/main" id="{49ED3B2D-C0F5-50AF-9CDF-E59C9FCE830F}"/>
                </a:ext>
              </a:extLst>
            </p:cNvPr>
            <p:cNvSpPr/>
            <p:nvPr/>
          </p:nvSpPr>
          <p:spPr>
            <a:xfrm>
              <a:off x="21035934" y="9556940"/>
              <a:ext cx="1562194" cy="1562194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E4373C9-ADEF-477B-7D5A-D14C92A7F543}"/>
                </a:ext>
              </a:extLst>
            </p:cNvPr>
            <p:cNvSpPr/>
            <p:nvPr/>
          </p:nvSpPr>
          <p:spPr bwMode="auto">
            <a:xfrm>
              <a:off x="16137165" y="7963567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751D607-04D5-A7AA-B2CF-759C9197F1AD}"/>
                </a:ext>
              </a:extLst>
            </p:cNvPr>
            <p:cNvSpPr/>
            <p:nvPr/>
          </p:nvSpPr>
          <p:spPr>
            <a:xfrm>
              <a:off x="21005659" y="6270686"/>
              <a:ext cx="1562242" cy="1562194"/>
            </a:xfrm>
            <a:custGeom>
              <a:avLst/>
              <a:gdLst>
                <a:gd name="connsiteX0" fmla="*/ 190102 w 356387"/>
                <a:gd name="connsiteY0" fmla="*/ 321574 h 356376"/>
                <a:gd name="connsiteX1" fmla="*/ 185949 w 356387"/>
                <a:gd name="connsiteY1" fmla="*/ 317769 h 356376"/>
                <a:gd name="connsiteX2" fmla="*/ 165288 w 356387"/>
                <a:gd name="connsiteY2" fmla="*/ 295518 h 356376"/>
                <a:gd name="connsiteX3" fmla="*/ 139082 w 356387"/>
                <a:gd name="connsiteY3" fmla="*/ 313175 h 356376"/>
                <a:gd name="connsiteX4" fmla="*/ 133281 w 356387"/>
                <a:gd name="connsiteY4" fmla="*/ 314312 h 356376"/>
                <a:gd name="connsiteX5" fmla="*/ 132156 w 356387"/>
                <a:gd name="connsiteY5" fmla="*/ 308511 h 356376"/>
                <a:gd name="connsiteX6" fmla="*/ 165276 w 356387"/>
                <a:gd name="connsiteY6" fmla="*/ 287154 h 356376"/>
                <a:gd name="connsiteX7" fmla="*/ 194255 w 356387"/>
                <a:gd name="connsiteY7" fmla="*/ 317015 h 356376"/>
                <a:gd name="connsiteX8" fmla="*/ 190473 w 356387"/>
                <a:gd name="connsiteY8" fmla="*/ 321550 h 356376"/>
                <a:gd name="connsiteX9" fmla="*/ 190102 w 356387"/>
                <a:gd name="connsiteY9" fmla="*/ 321574 h 356376"/>
                <a:gd name="connsiteX10" fmla="*/ 226517 w 356387"/>
                <a:gd name="connsiteY10" fmla="*/ 312803 h 356376"/>
                <a:gd name="connsiteX11" fmla="*/ 224336 w 356387"/>
                <a:gd name="connsiteY11" fmla="*/ 312177 h 356376"/>
                <a:gd name="connsiteX12" fmla="*/ 195032 w 356387"/>
                <a:gd name="connsiteY12" fmla="*/ 265646 h 356376"/>
                <a:gd name="connsiteX13" fmla="*/ 198513 w 356387"/>
                <a:gd name="connsiteY13" fmla="*/ 246633 h 356376"/>
                <a:gd name="connsiteX14" fmla="*/ 203930 w 356387"/>
                <a:gd name="connsiteY14" fmla="*/ 244301 h 356376"/>
                <a:gd name="connsiteX15" fmla="*/ 206262 w 356387"/>
                <a:gd name="connsiteY15" fmla="*/ 249718 h 356376"/>
                <a:gd name="connsiteX16" fmla="*/ 203397 w 356387"/>
                <a:gd name="connsiteY16" fmla="*/ 265646 h 356376"/>
                <a:gd name="connsiteX17" fmla="*/ 228698 w 356387"/>
                <a:gd name="connsiteY17" fmla="*/ 305054 h 356376"/>
                <a:gd name="connsiteX18" fmla="*/ 230078 w 356387"/>
                <a:gd name="connsiteY18" fmla="*/ 310785 h 356376"/>
                <a:gd name="connsiteX19" fmla="*/ 226517 w 356387"/>
                <a:gd name="connsiteY19" fmla="*/ 312803 h 356376"/>
                <a:gd name="connsiteX20" fmla="*/ 108549 w 356387"/>
                <a:gd name="connsiteY20" fmla="*/ 303105 h 356376"/>
                <a:gd name="connsiteX21" fmla="*/ 105068 w 356387"/>
                <a:gd name="connsiteY21" fmla="*/ 301238 h 356376"/>
                <a:gd name="connsiteX22" fmla="*/ 106240 w 356387"/>
                <a:gd name="connsiteY22" fmla="*/ 295449 h 356376"/>
                <a:gd name="connsiteX23" fmla="*/ 174835 w 356387"/>
                <a:gd name="connsiteY23" fmla="*/ 240937 h 356376"/>
                <a:gd name="connsiteX24" fmla="*/ 204557 w 356387"/>
                <a:gd name="connsiteY24" fmla="*/ 185775 h 356376"/>
                <a:gd name="connsiteX25" fmla="*/ 177724 w 356387"/>
                <a:gd name="connsiteY25" fmla="*/ 156970 h 356376"/>
                <a:gd name="connsiteX26" fmla="*/ 138838 w 356387"/>
                <a:gd name="connsiteY26" fmla="*/ 192074 h 356376"/>
                <a:gd name="connsiteX27" fmla="*/ 120439 w 356387"/>
                <a:gd name="connsiteY27" fmla="*/ 216320 h 356376"/>
                <a:gd name="connsiteX28" fmla="*/ 64373 w 356387"/>
                <a:gd name="connsiteY28" fmla="*/ 254405 h 356376"/>
                <a:gd name="connsiteX29" fmla="*/ 58735 w 356387"/>
                <a:gd name="connsiteY29" fmla="*/ 252665 h 356376"/>
                <a:gd name="connsiteX30" fmla="*/ 60486 w 356387"/>
                <a:gd name="connsiteY30" fmla="*/ 247027 h 356376"/>
                <a:gd name="connsiteX31" fmla="*/ 114616 w 356387"/>
                <a:gd name="connsiteY31" fmla="*/ 210345 h 356376"/>
                <a:gd name="connsiteX32" fmla="*/ 131889 w 356387"/>
                <a:gd name="connsiteY32" fmla="*/ 187457 h 356376"/>
                <a:gd name="connsiteX33" fmla="*/ 177736 w 356387"/>
                <a:gd name="connsiteY33" fmla="*/ 148629 h 356376"/>
                <a:gd name="connsiteX34" fmla="*/ 212932 w 356387"/>
                <a:gd name="connsiteY34" fmla="*/ 185787 h 356376"/>
                <a:gd name="connsiteX35" fmla="*/ 180624 w 356387"/>
                <a:gd name="connsiteY35" fmla="*/ 246981 h 356376"/>
                <a:gd name="connsiteX36" fmla="*/ 110869 w 356387"/>
                <a:gd name="connsiteY36" fmla="*/ 302421 h 356376"/>
                <a:gd name="connsiteX37" fmla="*/ 108549 w 356387"/>
                <a:gd name="connsiteY37" fmla="*/ 303105 h 356376"/>
                <a:gd name="connsiteX38" fmla="*/ 263129 w 356387"/>
                <a:gd name="connsiteY38" fmla="*/ 292433 h 356376"/>
                <a:gd name="connsiteX39" fmla="*/ 261598 w 356387"/>
                <a:gd name="connsiteY39" fmla="*/ 292142 h 356376"/>
                <a:gd name="connsiteX40" fmla="*/ 224197 w 356387"/>
                <a:gd name="connsiteY40" fmla="*/ 236180 h 356376"/>
                <a:gd name="connsiteX41" fmla="*/ 227468 w 356387"/>
                <a:gd name="connsiteY41" fmla="*/ 212422 h 356376"/>
                <a:gd name="connsiteX42" fmla="*/ 231482 w 356387"/>
                <a:gd name="connsiteY42" fmla="*/ 180949 h 356376"/>
                <a:gd name="connsiteX43" fmla="*/ 177701 w 356387"/>
                <a:gd name="connsiteY43" fmla="*/ 128583 h 356376"/>
                <a:gd name="connsiteX44" fmla="*/ 122121 w 356387"/>
                <a:gd name="connsiteY44" fmla="*/ 165044 h 356376"/>
                <a:gd name="connsiteX45" fmla="*/ 58793 w 356387"/>
                <a:gd name="connsiteY45" fmla="*/ 223048 h 356376"/>
                <a:gd name="connsiteX46" fmla="*/ 53422 w 356387"/>
                <a:gd name="connsiteY46" fmla="*/ 220577 h 356376"/>
                <a:gd name="connsiteX47" fmla="*/ 55893 w 356387"/>
                <a:gd name="connsiteY47" fmla="*/ 215206 h 356376"/>
                <a:gd name="connsiteX48" fmla="*/ 114929 w 356387"/>
                <a:gd name="connsiteY48" fmla="*/ 160798 h 356376"/>
                <a:gd name="connsiteX49" fmla="*/ 177701 w 356387"/>
                <a:gd name="connsiteY49" fmla="*/ 120230 h 356376"/>
                <a:gd name="connsiteX50" fmla="*/ 239835 w 356387"/>
                <a:gd name="connsiteY50" fmla="*/ 180937 h 356376"/>
                <a:gd name="connsiteX51" fmla="*/ 235647 w 356387"/>
                <a:gd name="connsiteY51" fmla="*/ 214116 h 356376"/>
                <a:gd name="connsiteX52" fmla="*/ 232549 w 356387"/>
                <a:gd name="connsiteY52" fmla="*/ 236157 h 356376"/>
                <a:gd name="connsiteX53" fmla="*/ 264649 w 356387"/>
                <a:gd name="connsiteY53" fmla="*/ 284347 h 356376"/>
                <a:gd name="connsiteX54" fmla="*/ 267004 w 356387"/>
                <a:gd name="connsiteY54" fmla="*/ 289764 h 356376"/>
                <a:gd name="connsiteX55" fmla="*/ 263129 w 356387"/>
                <a:gd name="connsiteY55" fmla="*/ 292433 h 356376"/>
                <a:gd name="connsiteX56" fmla="*/ 83560 w 356387"/>
                <a:gd name="connsiteY56" fmla="*/ 284695 h 356376"/>
                <a:gd name="connsiteX57" fmla="*/ 79999 w 356387"/>
                <a:gd name="connsiteY57" fmla="*/ 282699 h 356376"/>
                <a:gd name="connsiteX58" fmla="*/ 81368 w 356387"/>
                <a:gd name="connsiteY58" fmla="*/ 276957 h 356376"/>
                <a:gd name="connsiteX59" fmla="*/ 174221 w 356387"/>
                <a:gd name="connsiteY59" fmla="*/ 186332 h 356376"/>
                <a:gd name="connsiteX60" fmla="*/ 179870 w 356387"/>
                <a:gd name="connsiteY60" fmla="*/ 184615 h 356376"/>
                <a:gd name="connsiteX61" fmla="*/ 181587 w 356387"/>
                <a:gd name="connsiteY61" fmla="*/ 190264 h 356376"/>
                <a:gd name="connsiteX62" fmla="*/ 85741 w 356387"/>
                <a:gd name="connsiteY62" fmla="*/ 284068 h 356376"/>
                <a:gd name="connsiteX63" fmla="*/ 83560 w 356387"/>
                <a:gd name="connsiteY63" fmla="*/ 284695 h 356376"/>
                <a:gd name="connsiteX64" fmla="*/ 280704 w 356387"/>
                <a:gd name="connsiteY64" fmla="*/ 269834 h 356376"/>
                <a:gd name="connsiteX65" fmla="*/ 279034 w 356387"/>
                <a:gd name="connsiteY65" fmla="*/ 269486 h 356376"/>
                <a:gd name="connsiteX66" fmla="*/ 253686 w 356387"/>
                <a:gd name="connsiteY66" fmla="*/ 227619 h 356376"/>
                <a:gd name="connsiteX67" fmla="*/ 256551 w 356387"/>
                <a:gd name="connsiteY67" fmla="*/ 203048 h 356376"/>
                <a:gd name="connsiteX68" fmla="*/ 259695 w 356387"/>
                <a:gd name="connsiteY68" fmla="*/ 173536 h 356376"/>
                <a:gd name="connsiteX69" fmla="*/ 177701 w 356387"/>
                <a:gd name="connsiteY69" fmla="*/ 100405 h 356376"/>
                <a:gd name="connsiteX70" fmla="*/ 105173 w 356387"/>
                <a:gd name="connsiteY70" fmla="*/ 139128 h 356376"/>
                <a:gd name="connsiteX71" fmla="*/ 99488 w 356387"/>
                <a:gd name="connsiteY71" fmla="*/ 146564 h 356376"/>
                <a:gd name="connsiteX72" fmla="*/ 58920 w 356387"/>
                <a:gd name="connsiteY72" fmla="*/ 184731 h 356376"/>
                <a:gd name="connsiteX73" fmla="*/ 53480 w 356387"/>
                <a:gd name="connsiteY73" fmla="*/ 182434 h 356376"/>
                <a:gd name="connsiteX74" fmla="*/ 55777 w 356387"/>
                <a:gd name="connsiteY74" fmla="*/ 176993 h 356376"/>
                <a:gd name="connsiteX75" fmla="*/ 92795 w 356387"/>
                <a:gd name="connsiteY75" fmla="*/ 141553 h 356376"/>
                <a:gd name="connsiteX76" fmla="*/ 98641 w 356387"/>
                <a:gd name="connsiteY76" fmla="*/ 133908 h 356376"/>
                <a:gd name="connsiteX77" fmla="*/ 177689 w 356387"/>
                <a:gd name="connsiteY77" fmla="*/ 92064 h 356376"/>
                <a:gd name="connsiteX78" fmla="*/ 268048 w 356387"/>
                <a:gd name="connsiteY78" fmla="*/ 173548 h 356376"/>
                <a:gd name="connsiteX79" fmla="*/ 264683 w 356387"/>
                <a:gd name="connsiteY79" fmla="*/ 204939 h 356376"/>
                <a:gd name="connsiteX80" fmla="*/ 262027 w 356387"/>
                <a:gd name="connsiteY80" fmla="*/ 227642 h 356376"/>
                <a:gd name="connsiteX81" fmla="*/ 282340 w 356387"/>
                <a:gd name="connsiteY81" fmla="*/ 261853 h 356376"/>
                <a:gd name="connsiteX82" fmla="*/ 284509 w 356387"/>
                <a:gd name="connsiteY82" fmla="*/ 267352 h 356376"/>
                <a:gd name="connsiteX83" fmla="*/ 280704 w 356387"/>
                <a:gd name="connsiteY83" fmla="*/ 269834 h 356376"/>
                <a:gd name="connsiteX84" fmla="*/ 284509 w 356387"/>
                <a:gd name="connsiteY84" fmla="*/ 241981 h 356376"/>
                <a:gd name="connsiteX85" fmla="*/ 282050 w 356387"/>
                <a:gd name="connsiteY85" fmla="*/ 241180 h 356376"/>
                <a:gd name="connsiteX86" fmla="*/ 281133 w 356387"/>
                <a:gd name="connsiteY86" fmla="*/ 235345 h 356376"/>
                <a:gd name="connsiteX87" fmla="*/ 294463 w 356387"/>
                <a:gd name="connsiteY87" fmla="*/ 184023 h 356376"/>
                <a:gd name="connsiteX88" fmla="*/ 287119 w 356387"/>
                <a:gd name="connsiteY88" fmla="*/ 146959 h 356376"/>
                <a:gd name="connsiteX89" fmla="*/ 289138 w 356387"/>
                <a:gd name="connsiteY89" fmla="*/ 141402 h 356376"/>
                <a:gd name="connsiteX90" fmla="*/ 294695 w 356387"/>
                <a:gd name="connsiteY90" fmla="*/ 143409 h 356376"/>
                <a:gd name="connsiteX91" fmla="*/ 302827 w 356387"/>
                <a:gd name="connsiteY91" fmla="*/ 184023 h 356376"/>
                <a:gd name="connsiteX92" fmla="*/ 287885 w 356387"/>
                <a:gd name="connsiteY92" fmla="*/ 240264 h 356376"/>
                <a:gd name="connsiteX93" fmla="*/ 284509 w 356387"/>
                <a:gd name="connsiteY93" fmla="*/ 241981 h 356376"/>
                <a:gd name="connsiteX94" fmla="*/ 64141 w 356387"/>
                <a:gd name="connsiteY94" fmla="*/ 141820 h 356376"/>
                <a:gd name="connsiteX95" fmla="*/ 61844 w 356387"/>
                <a:gd name="connsiteY95" fmla="*/ 141135 h 356376"/>
                <a:gd name="connsiteX96" fmla="*/ 60649 w 356387"/>
                <a:gd name="connsiteY96" fmla="*/ 135346 h 356376"/>
                <a:gd name="connsiteX97" fmla="*/ 177701 w 356387"/>
                <a:gd name="connsiteY97" fmla="*/ 63955 h 356376"/>
                <a:gd name="connsiteX98" fmla="*/ 285565 w 356387"/>
                <a:gd name="connsiteY98" fmla="*/ 122110 h 356376"/>
                <a:gd name="connsiteX99" fmla="*/ 284370 w 356387"/>
                <a:gd name="connsiteY99" fmla="*/ 127899 h 356376"/>
                <a:gd name="connsiteX100" fmla="*/ 278581 w 356387"/>
                <a:gd name="connsiteY100" fmla="*/ 126704 h 356376"/>
                <a:gd name="connsiteX101" fmla="*/ 177701 w 356387"/>
                <a:gd name="connsiteY101" fmla="*/ 72308 h 356376"/>
                <a:gd name="connsiteX102" fmla="*/ 67621 w 356387"/>
                <a:gd name="connsiteY102" fmla="*/ 139952 h 356376"/>
                <a:gd name="connsiteX103" fmla="*/ 64141 w 356387"/>
                <a:gd name="connsiteY103" fmla="*/ 141820 h 356376"/>
                <a:gd name="connsiteX104" fmla="*/ 278001 w 356387"/>
                <a:gd name="connsiteY104" fmla="*/ 85544 h 356376"/>
                <a:gd name="connsiteX105" fmla="*/ 275020 w 356387"/>
                <a:gd name="connsiteY105" fmla="*/ 84291 h 356376"/>
                <a:gd name="connsiteX106" fmla="*/ 179220 w 356387"/>
                <a:gd name="connsiteY106" fmla="*/ 43155 h 356376"/>
                <a:gd name="connsiteX107" fmla="*/ 178698 w 356387"/>
                <a:gd name="connsiteY107" fmla="*/ 43155 h 356376"/>
                <a:gd name="connsiteX108" fmla="*/ 81310 w 356387"/>
                <a:gd name="connsiteY108" fmla="*/ 83839 h 356376"/>
                <a:gd name="connsiteX109" fmla="*/ 75405 w 356387"/>
                <a:gd name="connsiteY109" fmla="*/ 83908 h 356376"/>
                <a:gd name="connsiteX110" fmla="*/ 75335 w 356387"/>
                <a:gd name="connsiteY110" fmla="*/ 78004 h 356376"/>
                <a:gd name="connsiteX111" fmla="*/ 178698 w 356387"/>
                <a:gd name="connsiteY111" fmla="*/ 34802 h 356376"/>
                <a:gd name="connsiteX112" fmla="*/ 179255 w 356387"/>
                <a:gd name="connsiteY112" fmla="*/ 34802 h 356376"/>
                <a:gd name="connsiteX113" fmla="*/ 280983 w 356387"/>
                <a:gd name="connsiteY113" fmla="*/ 78444 h 356376"/>
                <a:gd name="connsiteX114" fmla="*/ 280925 w 356387"/>
                <a:gd name="connsiteY114" fmla="*/ 84349 h 356376"/>
                <a:gd name="connsiteX115" fmla="*/ 278001 w 356387"/>
                <a:gd name="connsiteY115" fmla="*/ 85544 h 356376"/>
                <a:gd name="connsiteX116" fmla="*/ 352200 w 356387"/>
                <a:gd name="connsiteY116" fmla="*/ 356376 h 356376"/>
                <a:gd name="connsiteX117" fmla="*/ 305797 w 356387"/>
                <a:gd name="connsiteY117" fmla="*/ 356376 h 356376"/>
                <a:gd name="connsiteX118" fmla="*/ 305797 w 356387"/>
                <a:gd name="connsiteY118" fmla="*/ 348023 h 356376"/>
                <a:gd name="connsiteX119" fmla="*/ 348023 w 356387"/>
                <a:gd name="connsiteY119" fmla="*/ 348023 h 356376"/>
                <a:gd name="connsiteX120" fmla="*/ 348023 w 356387"/>
                <a:gd name="connsiteY120" fmla="*/ 305797 h 356376"/>
                <a:gd name="connsiteX121" fmla="*/ 356388 w 356387"/>
                <a:gd name="connsiteY121" fmla="*/ 305797 h 356376"/>
                <a:gd name="connsiteX122" fmla="*/ 356388 w 356387"/>
                <a:gd name="connsiteY122" fmla="*/ 352200 h 356376"/>
                <a:gd name="connsiteX123" fmla="*/ 352200 w 356387"/>
                <a:gd name="connsiteY123" fmla="*/ 356376 h 356376"/>
                <a:gd name="connsiteX124" fmla="*/ 50579 w 356387"/>
                <a:gd name="connsiteY124" fmla="*/ 356376 h 356376"/>
                <a:gd name="connsiteX125" fmla="*/ 4176 w 356387"/>
                <a:gd name="connsiteY125" fmla="*/ 356376 h 356376"/>
                <a:gd name="connsiteX126" fmla="*/ 0 w 356387"/>
                <a:gd name="connsiteY126" fmla="*/ 352200 h 356376"/>
                <a:gd name="connsiteX127" fmla="*/ 0 w 356387"/>
                <a:gd name="connsiteY127" fmla="*/ 305797 h 356376"/>
                <a:gd name="connsiteX128" fmla="*/ 8353 w 356387"/>
                <a:gd name="connsiteY128" fmla="*/ 305797 h 356376"/>
                <a:gd name="connsiteX129" fmla="*/ 8353 w 356387"/>
                <a:gd name="connsiteY129" fmla="*/ 348023 h 356376"/>
                <a:gd name="connsiteX130" fmla="*/ 50579 w 356387"/>
                <a:gd name="connsiteY130" fmla="*/ 348023 h 356376"/>
                <a:gd name="connsiteX131" fmla="*/ 50579 w 356387"/>
                <a:gd name="connsiteY131" fmla="*/ 356376 h 356376"/>
                <a:gd name="connsiteX132" fmla="*/ 356376 w 356387"/>
                <a:gd name="connsiteY132" fmla="*/ 50579 h 356376"/>
                <a:gd name="connsiteX133" fmla="*/ 348023 w 356387"/>
                <a:gd name="connsiteY133" fmla="*/ 50579 h 356376"/>
                <a:gd name="connsiteX134" fmla="*/ 348023 w 356387"/>
                <a:gd name="connsiteY134" fmla="*/ 8353 h 356376"/>
                <a:gd name="connsiteX135" fmla="*/ 305797 w 356387"/>
                <a:gd name="connsiteY135" fmla="*/ 8353 h 356376"/>
                <a:gd name="connsiteX136" fmla="*/ 305797 w 356387"/>
                <a:gd name="connsiteY136" fmla="*/ 0 h 356376"/>
                <a:gd name="connsiteX137" fmla="*/ 352200 w 356387"/>
                <a:gd name="connsiteY137" fmla="*/ 0 h 356376"/>
                <a:gd name="connsiteX138" fmla="*/ 356376 w 356387"/>
                <a:gd name="connsiteY138" fmla="*/ 4176 h 356376"/>
                <a:gd name="connsiteX139" fmla="*/ 356376 w 356387"/>
                <a:gd name="connsiteY139" fmla="*/ 50579 h 356376"/>
                <a:gd name="connsiteX140" fmla="*/ 8353 w 356387"/>
                <a:gd name="connsiteY140" fmla="*/ 50579 h 356376"/>
                <a:gd name="connsiteX141" fmla="*/ 0 w 356387"/>
                <a:gd name="connsiteY141" fmla="*/ 50579 h 356376"/>
                <a:gd name="connsiteX142" fmla="*/ 0 w 356387"/>
                <a:gd name="connsiteY142" fmla="*/ 4176 h 356376"/>
                <a:gd name="connsiteX143" fmla="*/ 4176 w 356387"/>
                <a:gd name="connsiteY143" fmla="*/ 0 h 356376"/>
                <a:gd name="connsiteX144" fmla="*/ 50579 w 356387"/>
                <a:gd name="connsiteY144" fmla="*/ 0 h 356376"/>
                <a:gd name="connsiteX145" fmla="*/ 50579 w 356387"/>
                <a:gd name="connsiteY145" fmla="*/ 8353 h 356376"/>
                <a:gd name="connsiteX146" fmla="*/ 8353 w 356387"/>
                <a:gd name="connsiteY146" fmla="*/ 8353 h 356376"/>
                <a:gd name="connsiteX147" fmla="*/ 8353 w 356387"/>
                <a:gd name="connsiteY147" fmla="*/ 50579 h 35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356387" h="356376">
                  <a:moveTo>
                    <a:pt x="190102" y="321574"/>
                  </a:moveTo>
                  <a:cubicBezTo>
                    <a:pt x="187956" y="321574"/>
                    <a:pt x="186135" y="319938"/>
                    <a:pt x="185949" y="317769"/>
                  </a:cubicBezTo>
                  <a:cubicBezTo>
                    <a:pt x="184951" y="306690"/>
                    <a:pt x="178176" y="295518"/>
                    <a:pt x="165288" y="295518"/>
                  </a:cubicBezTo>
                  <a:cubicBezTo>
                    <a:pt x="153409" y="295518"/>
                    <a:pt x="146448" y="302270"/>
                    <a:pt x="139082" y="313175"/>
                  </a:cubicBezTo>
                  <a:cubicBezTo>
                    <a:pt x="137794" y="315100"/>
                    <a:pt x="135219" y="315588"/>
                    <a:pt x="133281" y="314312"/>
                  </a:cubicBezTo>
                  <a:cubicBezTo>
                    <a:pt x="131367" y="313024"/>
                    <a:pt x="130868" y="310414"/>
                    <a:pt x="132156" y="308511"/>
                  </a:cubicBezTo>
                  <a:cubicBezTo>
                    <a:pt x="139650" y="297421"/>
                    <a:pt x="148838" y="287154"/>
                    <a:pt x="165276" y="287154"/>
                  </a:cubicBezTo>
                  <a:cubicBezTo>
                    <a:pt x="183339" y="287154"/>
                    <a:pt x="192956" y="302641"/>
                    <a:pt x="194255" y="317015"/>
                  </a:cubicBezTo>
                  <a:cubicBezTo>
                    <a:pt x="194464" y="319312"/>
                    <a:pt x="192770" y="321342"/>
                    <a:pt x="190473" y="321550"/>
                  </a:cubicBezTo>
                  <a:cubicBezTo>
                    <a:pt x="190357" y="321562"/>
                    <a:pt x="190230" y="321574"/>
                    <a:pt x="190102" y="321574"/>
                  </a:cubicBezTo>
                  <a:close/>
                  <a:moveTo>
                    <a:pt x="226517" y="312803"/>
                  </a:moveTo>
                  <a:cubicBezTo>
                    <a:pt x="225774" y="312803"/>
                    <a:pt x="225020" y="312595"/>
                    <a:pt x="224336" y="312177"/>
                  </a:cubicBezTo>
                  <a:cubicBezTo>
                    <a:pt x="205983" y="300947"/>
                    <a:pt x="195032" y="283558"/>
                    <a:pt x="195032" y="265646"/>
                  </a:cubicBezTo>
                  <a:cubicBezTo>
                    <a:pt x="195032" y="259185"/>
                    <a:pt x="196332" y="252085"/>
                    <a:pt x="198513" y="246633"/>
                  </a:cubicBezTo>
                  <a:cubicBezTo>
                    <a:pt x="199359" y="244463"/>
                    <a:pt x="201854" y="243454"/>
                    <a:pt x="203930" y="244301"/>
                  </a:cubicBezTo>
                  <a:cubicBezTo>
                    <a:pt x="206088" y="245148"/>
                    <a:pt x="207120" y="247572"/>
                    <a:pt x="206262" y="249718"/>
                  </a:cubicBezTo>
                  <a:cubicBezTo>
                    <a:pt x="204139" y="255043"/>
                    <a:pt x="203397" y="261447"/>
                    <a:pt x="203397" y="265646"/>
                  </a:cubicBezTo>
                  <a:cubicBezTo>
                    <a:pt x="203397" y="280391"/>
                    <a:pt x="213095" y="295495"/>
                    <a:pt x="228698" y="305054"/>
                  </a:cubicBezTo>
                  <a:cubicBezTo>
                    <a:pt x="230670" y="306261"/>
                    <a:pt x="231296" y="308824"/>
                    <a:pt x="230078" y="310785"/>
                  </a:cubicBezTo>
                  <a:cubicBezTo>
                    <a:pt x="229289" y="312096"/>
                    <a:pt x="227921" y="312803"/>
                    <a:pt x="226517" y="312803"/>
                  </a:cubicBezTo>
                  <a:close/>
                  <a:moveTo>
                    <a:pt x="108549" y="303105"/>
                  </a:moveTo>
                  <a:cubicBezTo>
                    <a:pt x="107191" y="303105"/>
                    <a:pt x="105869" y="302444"/>
                    <a:pt x="105068" y="301238"/>
                  </a:cubicBezTo>
                  <a:cubicBezTo>
                    <a:pt x="103792" y="299312"/>
                    <a:pt x="104314" y="296713"/>
                    <a:pt x="106240" y="295449"/>
                  </a:cubicBezTo>
                  <a:cubicBezTo>
                    <a:pt x="132411" y="278094"/>
                    <a:pt x="153571" y="261284"/>
                    <a:pt x="174835" y="240937"/>
                  </a:cubicBezTo>
                  <a:cubicBezTo>
                    <a:pt x="185937" y="230310"/>
                    <a:pt x="204557" y="209011"/>
                    <a:pt x="204557" y="185775"/>
                  </a:cubicBezTo>
                  <a:cubicBezTo>
                    <a:pt x="204557" y="171808"/>
                    <a:pt x="195148" y="156970"/>
                    <a:pt x="177724" y="156970"/>
                  </a:cubicBezTo>
                  <a:cubicBezTo>
                    <a:pt x="162214" y="156970"/>
                    <a:pt x="150323" y="174824"/>
                    <a:pt x="138838" y="192074"/>
                  </a:cubicBezTo>
                  <a:cubicBezTo>
                    <a:pt x="132701" y="201297"/>
                    <a:pt x="126901" y="209997"/>
                    <a:pt x="120439" y="216320"/>
                  </a:cubicBezTo>
                  <a:cubicBezTo>
                    <a:pt x="102829" y="233524"/>
                    <a:pt x="84628" y="243744"/>
                    <a:pt x="64373" y="254405"/>
                  </a:cubicBezTo>
                  <a:cubicBezTo>
                    <a:pt x="62331" y="255484"/>
                    <a:pt x="59790" y="254684"/>
                    <a:pt x="58735" y="252665"/>
                  </a:cubicBezTo>
                  <a:cubicBezTo>
                    <a:pt x="57656" y="250612"/>
                    <a:pt x="58445" y="248094"/>
                    <a:pt x="60486" y="247027"/>
                  </a:cubicBezTo>
                  <a:cubicBezTo>
                    <a:pt x="80150" y="236668"/>
                    <a:pt x="97806" y="226772"/>
                    <a:pt x="114616" y="210345"/>
                  </a:cubicBezTo>
                  <a:cubicBezTo>
                    <a:pt x="120439" y="204649"/>
                    <a:pt x="126008" y="196297"/>
                    <a:pt x="131889" y="187457"/>
                  </a:cubicBezTo>
                  <a:cubicBezTo>
                    <a:pt x="144604" y="168362"/>
                    <a:pt x="157747" y="148629"/>
                    <a:pt x="177736" y="148629"/>
                  </a:cubicBezTo>
                  <a:cubicBezTo>
                    <a:pt x="199765" y="148629"/>
                    <a:pt x="212932" y="167515"/>
                    <a:pt x="212932" y="185787"/>
                  </a:cubicBezTo>
                  <a:cubicBezTo>
                    <a:pt x="212932" y="212143"/>
                    <a:pt x="192689" y="235438"/>
                    <a:pt x="180624" y="246981"/>
                  </a:cubicBezTo>
                  <a:cubicBezTo>
                    <a:pt x="158989" y="267688"/>
                    <a:pt x="137481" y="284788"/>
                    <a:pt x="110869" y="302421"/>
                  </a:cubicBezTo>
                  <a:cubicBezTo>
                    <a:pt x="110138" y="302873"/>
                    <a:pt x="109337" y="303105"/>
                    <a:pt x="108549" y="303105"/>
                  </a:cubicBezTo>
                  <a:close/>
                  <a:moveTo>
                    <a:pt x="263129" y="292433"/>
                  </a:moveTo>
                  <a:cubicBezTo>
                    <a:pt x="262619" y="292433"/>
                    <a:pt x="262096" y="292340"/>
                    <a:pt x="261598" y="292142"/>
                  </a:cubicBezTo>
                  <a:cubicBezTo>
                    <a:pt x="230693" y="279996"/>
                    <a:pt x="224197" y="255008"/>
                    <a:pt x="224197" y="236180"/>
                  </a:cubicBezTo>
                  <a:cubicBezTo>
                    <a:pt x="224197" y="228060"/>
                    <a:pt x="225798" y="220473"/>
                    <a:pt x="227468" y="212422"/>
                  </a:cubicBezTo>
                  <a:cubicBezTo>
                    <a:pt x="229440" y="203002"/>
                    <a:pt x="231482" y="193281"/>
                    <a:pt x="231482" y="180949"/>
                  </a:cubicBezTo>
                  <a:cubicBezTo>
                    <a:pt x="231482" y="159000"/>
                    <a:pt x="212805" y="128583"/>
                    <a:pt x="177701" y="128583"/>
                  </a:cubicBezTo>
                  <a:cubicBezTo>
                    <a:pt x="148096" y="128583"/>
                    <a:pt x="130172" y="151425"/>
                    <a:pt x="122121" y="165044"/>
                  </a:cubicBezTo>
                  <a:cubicBezTo>
                    <a:pt x="114256" y="178350"/>
                    <a:pt x="92354" y="210635"/>
                    <a:pt x="58793" y="223048"/>
                  </a:cubicBezTo>
                  <a:cubicBezTo>
                    <a:pt x="56612" y="223825"/>
                    <a:pt x="54222" y="222758"/>
                    <a:pt x="53422" y="220577"/>
                  </a:cubicBezTo>
                  <a:cubicBezTo>
                    <a:pt x="52621" y="218408"/>
                    <a:pt x="53735" y="216007"/>
                    <a:pt x="55893" y="215206"/>
                  </a:cubicBezTo>
                  <a:cubicBezTo>
                    <a:pt x="77435" y="207248"/>
                    <a:pt x="99500" y="186912"/>
                    <a:pt x="114929" y="160798"/>
                  </a:cubicBezTo>
                  <a:cubicBezTo>
                    <a:pt x="123885" y="145648"/>
                    <a:pt x="143943" y="120230"/>
                    <a:pt x="177701" y="120230"/>
                  </a:cubicBezTo>
                  <a:cubicBezTo>
                    <a:pt x="214870" y="120230"/>
                    <a:pt x="239835" y="151622"/>
                    <a:pt x="239835" y="180937"/>
                  </a:cubicBezTo>
                  <a:cubicBezTo>
                    <a:pt x="239835" y="194127"/>
                    <a:pt x="237607" y="204754"/>
                    <a:pt x="235647" y="214116"/>
                  </a:cubicBezTo>
                  <a:cubicBezTo>
                    <a:pt x="233976" y="222051"/>
                    <a:pt x="232549" y="228895"/>
                    <a:pt x="232549" y="236157"/>
                  </a:cubicBezTo>
                  <a:cubicBezTo>
                    <a:pt x="232549" y="252387"/>
                    <a:pt x="238106" y="273929"/>
                    <a:pt x="264649" y="284347"/>
                  </a:cubicBezTo>
                  <a:cubicBezTo>
                    <a:pt x="266795" y="285182"/>
                    <a:pt x="267850" y="287607"/>
                    <a:pt x="267004" y="289764"/>
                  </a:cubicBezTo>
                  <a:cubicBezTo>
                    <a:pt x="266377" y="291423"/>
                    <a:pt x="264799" y="292433"/>
                    <a:pt x="263129" y="292433"/>
                  </a:cubicBezTo>
                  <a:close/>
                  <a:moveTo>
                    <a:pt x="83560" y="284695"/>
                  </a:moveTo>
                  <a:cubicBezTo>
                    <a:pt x="82157" y="284695"/>
                    <a:pt x="80788" y="283976"/>
                    <a:pt x="79999" y="282699"/>
                  </a:cubicBezTo>
                  <a:cubicBezTo>
                    <a:pt x="78793" y="280739"/>
                    <a:pt x="79407" y="278164"/>
                    <a:pt x="81368" y="276957"/>
                  </a:cubicBezTo>
                  <a:cubicBezTo>
                    <a:pt x="111634" y="258338"/>
                    <a:pt x="152307" y="227480"/>
                    <a:pt x="174221" y="186332"/>
                  </a:cubicBezTo>
                  <a:cubicBezTo>
                    <a:pt x="175311" y="184290"/>
                    <a:pt x="177817" y="183501"/>
                    <a:pt x="179870" y="184615"/>
                  </a:cubicBezTo>
                  <a:cubicBezTo>
                    <a:pt x="181900" y="185705"/>
                    <a:pt x="182678" y="188234"/>
                    <a:pt x="181587" y="190264"/>
                  </a:cubicBezTo>
                  <a:cubicBezTo>
                    <a:pt x="158792" y="233048"/>
                    <a:pt x="116878" y="264904"/>
                    <a:pt x="85741" y="284068"/>
                  </a:cubicBezTo>
                  <a:cubicBezTo>
                    <a:pt x="85069" y="284486"/>
                    <a:pt x="84314" y="284695"/>
                    <a:pt x="83560" y="284695"/>
                  </a:cubicBezTo>
                  <a:close/>
                  <a:moveTo>
                    <a:pt x="280704" y="269834"/>
                  </a:moveTo>
                  <a:cubicBezTo>
                    <a:pt x="280147" y="269834"/>
                    <a:pt x="279579" y="269718"/>
                    <a:pt x="279034" y="269486"/>
                  </a:cubicBezTo>
                  <a:cubicBezTo>
                    <a:pt x="257943" y="260322"/>
                    <a:pt x="253686" y="246667"/>
                    <a:pt x="253686" y="227619"/>
                  </a:cubicBezTo>
                  <a:cubicBezTo>
                    <a:pt x="253686" y="215543"/>
                    <a:pt x="255078" y="209487"/>
                    <a:pt x="256551" y="203048"/>
                  </a:cubicBezTo>
                  <a:cubicBezTo>
                    <a:pt x="258106" y="196285"/>
                    <a:pt x="259695" y="189278"/>
                    <a:pt x="259695" y="173536"/>
                  </a:cubicBezTo>
                  <a:cubicBezTo>
                    <a:pt x="259695" y="138363"/>
                    <a:pt x="228350" y="100405"/>
                    <a:pt x="177701" y="100405"/>
                  </a:cubicBezTo>
                  <a:cubicBezTo>
                    <a:pt x="139430" y="100405"/>
                    <a:pt x="120892" y="119534"/>
                    <a:pt x="105173" y="139128"/>
                  </a:cubicBezTo>
                  <a:cubicBezTo>
                    <a:pt x="103444" y="141298"/>
                    <a:pt x="101542" y="143815"/>
                    <a:pt x="99488" y="146564"/>
                  </a:cubicBezTo>
                  <a:cubicBezTo>
                    <a:pt x="89593" y="159743"/>
                    <a:pt x="76055" y="177794"/>
                    <a:pt x="58920" y="184731"/>
                  </a:cubicBezTo>
                  <a:cubicBezTo>
                    <a:pt x="56774" y="185601"/>
                    <a:pt x="54350" y="184568"/>
                    <a:pt x="53480" y="182434"/>
                  </a:cubicBezTo>
                  <a:cubicBezTo>
                    <a:pt x="52610" y="180299"/>
                    <a:pt x="53642" y="177863"/>
                    <a:pt x="55777" y="176993"/>
                  </a:cubicBezTo>
                  <a:cubicBezTo>
                    <a:pt x="70753" y="170926"/>
                    <a:pt x="83491" y="153942"/>
                    <a:pt x="92795" y="141553"/>
                  </a:cubicBezTo>
                  <a:cubicBezTo>
                    <a:pt x="94918" y="138734"/>
                    <a:pt x="96867" y="136135"/>
                    <a:pt x="98641" y="133908"/>
                  </a:cubicBezTo>
                  <a:cubicBezTo>
                    <a:pt x="115625" y="112725"/>
                    <a:pt x="135718" y="92064"/>
                    <a:pt x="177689" y="92064"/>
                  </a:cubicBezTo>
                  <a:cubicBezTo>
                    <a:pt x="233501" y="92064"/>
                    <a:pt x="268048" y="134360"/>
                    <a:pt x="268048" y="173548"/>
                  </a:cubicBezTo>
                  <a:cubicBezTo>
                    <a:pt x="268048" y="190241"/>
                    <a:pt x="266261" y="198049"/>
                    <a:pt x="264683" y="204939"/>
                  </a:cubicBezTo>
                  <a:cubicBezTo>
                    <a:pt x="263315" y="210891"/>
                    <a:pt x="262027" y="216517"/>
                    <a:pt x="262027" y="227642"/>
                  </a:cubicBezTo>
                  <a:cubicBezTo>
                    <a:pt x="262027" y="246865"/>
                    <a:pt x="266957" y="255182"/>
                    <a:pt x="282340" y="261853"/>
                  </a:cubicBezTo>
                  <a:cubicBezTo>
                    <a:pt x="284463" y="262769"/>
                    <a:pt x="285426" y="265229"/>
                    <a:pt x="284509" y="267352"/>
                  </a:cubicBezTo>
                  <a:cubicBezTo>
                    <a:pt x="283848" y="268895"/>
                    <a:pt x="282317" y="269834"/>
                    <a:pt x="280704" y="269834"/>
                  </a:cubicBezTo>
                  <a:close/>
                  <a:moveTo>
                    <a:pt x="284509" y="241981"/>
                  </a:moveTo>
                  <a:cubicBezTo>
                    <a:pt x="283651" y="241981"/>
                    <a:pt x="282792" y="241725"/>
                    <a:pt x="282050" y="241180"/>
                  </a:cubicBezTo>
                  <a:cubicBezTo>
                    <a:pt x="280182" y="239823"/>
                    <a:pt x="279776" y="237201"/>
                    <a:pt x="281133" y="235345"/>
                  </a:cubicBezTo>
                  <a:cubicBezTo>
                    <a:pt x="289358" y="224081"/>
                    <a:pt x="294463" y="204417"/>
                    <a:pt x="294463" y="184023"/>
                  </a:cubicBezTo>
                  <a:cubicBezTo>
                    <a:pt x="294463" y="172910"/>
                    <a:pt x="293581" y="160729"/>
                    <a:pt x="287119" y="146959"/>
                  </a:cubicBezTo>
                  <a:cubicBezTo>
                    <a:pt x="286145" y="144871"/>
                    <a:pt x="287038" y="142376"/>
                    <a:pt x="289138" y="141402"/>
                  </a:cubicBezTo>
                  <a:cubicBezTo>
                    <a:pt x="291180" y="140439"/>
                    <a:pt x="293709" y="141321"/>
                    <a:pt x="294695" y="143409"/>
                  </a:cubicBezTo>
                  <a:cubicBezTo>
                    <a:pt x="301852" y="158699"/>
                    <a:pt x="302827" y="172527"/>
                    <a:pt x="302827" y="184023"/>
                  </a:cubicBezTo>
                  <a:cubicBezTo>
                    <a:pt x="302827" y="206436"/>
                    <a:pt x="297247" y="227468"/>
                    <a:pt x="287885" y="240264"/>
                  </a:cubicBezTo>
                  <a:cubicBezTo>
                    <a:pt x="287061" y="241377"/>
                    <a:pt x="285785" y="241981"/>
                    <a:pt x="284509" y="241981"/>
                  </a:cubicBezTo>
                  <a:close/>
                  <a:moveTo>
                    <a:pt x="64141" y="141820"/>
                  </a:moveTo>
                  <a:cubicBezTo>
                    <a:pt x="63352" y="141820"/>
                    <a:pt x="62551" y="141599"/>
                    <a:pt x="61844" y="141135"/>
                  </a:cubicBezTo>
                  <a:cubicBezTo>
                    <a:pt x="59918" y="139871"/>
                    <a:pt x="59384" y="137272"/>
                    <a:pt x="60649" y="135346"/>
                  </a:cubicBezTo>
                  <a:cubicBezTo>
                    <a:pt x="80834" y="104697"/>
                    <a:pt x="114941" y="63955"/>
                    <a:pt x="177701" y="63955"/>
                  </a:cubicBezTo>
                  <a:cubicBezTo>
                    <a:pt x="221262" y="63955"/>
                    <a:pt x="261574" y="85695"/>
                    <a:pt x="285565" y="122110"/>
                  </a:cubicBezTo>
                  <a:cubicBezTo>
                    <a:pt x="286829" y="124047"/>
                    <a:pt x="286296" y="126634"/>
                    <a:pt x="284370" y="127899"/>
                  </a:cubicBezTo>
                  <a:cubicBezTo>
                    <a:pt x="282444" y="129163"/>
                    <a:pt x="279857" y="128653"/>
                    <a:pt x="278581" y="126704"/>
                  </a:cubicBezTo>
                  <a:cubicBezTo>
                    <a:pt x="256145" y="92632"/>
                    <a:pt x="218431" y="72308"/>
                    <a:pt x="177701" y="72308"/>
                  </a:cubicBezTo>
                  <a:cubicBezTo>
                    <a:pt x="118966" y="72308"/>
                    <a:pt x="86751" y="110915"/>
                    <a:pt x="67621" y="139952"/>
                  </a:cubicBezTo>
                  <a:cubicBezTo>
                    <a:pt x="66832" y="141170"/>
                    <a:pt x="65498" y="141820"/>
                    <a:pt x="64141" y="141820"/>
                  </a:cubicBezTo>
                  <a:close/>
                  <a:moveTo>
                    <a:pt x="278001" y="85544"/>
                  </a:moveTo>
                  <a:cubicBezTo>
                    <a:pt x="276911" y="85544"/>
                    <a:pt x="275832" y="85127"/>
                    <a:pt x="275020" y="84291"/>
                  </a:cubicBezTo>
                  <a:cubicBezTo>
                    <a:pt x="249544" y="58271"/>
                    <a:pt x="214626" y="43271"/>
                    <a:pt x="179220" y="43155"/>
                  </a:cubicBezTo>
                  <a:cubicBezTo>
                    <a:pt x="179046" y="43155"/>
                    <a:pt x="178872" y="43155"/>
                    <a:pt x="178698" y="43155"/>
                  </a:cubicBezTo>
                  <a:cubicBezTo>
                    <a:pt x="140996" y="43155"/>
                    <a:pt x="107330" y="57215"/>
                    <a:pt x="81310" y="83839"/>
                  </a:cubicBezTo>
                  <a:cubicBezTo>
                    <a:pt x="79697" y="85486"/>
                    <a:pt x="77041" y="85498"/>
                    <a:pt x="75405" y="83908"/>
                  </a:cubicBezTo>
                  <a:cubicBezTo>
                    <a:pt x="73758" y="82296"/>
                    <a:pt x="73723" y="79651"/>
                    <a:pt x="75335" y="78004"/>
                  </a:cubicBezTo>
                  <a:cubicBezTo>
                    <a:pt x="102957" y="49733"/>
                    <a:pt x="138687" y="34802"/>
                    <a:pt x="178698" y="34802"/>
                  </a:cubicBezTo>
                  <a:cubicBezTo>
                    <a:pt x="178884" y="34802"/>
                    <a:pt x="179070" y="34802"/>
                    <a:pt x="179255" y="34802"/>
                  </a:cubicBezTo>
                  <a:cubicBezTo>
                    <a:pt x="216865" y="34930"/>
                    <a:pt x="253941" y="50835"/>
                    <a:pt x="280983" y="78444"/>
                  </a:cubicBezTo>
                  <a:cubicBezTo>
                    <a:pt x="282607" y="80092"/>
                    <a:pt x="282572" y="82737"/>
                    <a:pt x="280925" y="84349"/>
                  </a:cubicBezTo>
                  <a:cubicBezTo>
                    <a:pt x="280101" y="85150"/>
                    <a:pt x="279045" y="85544"/>
                    <a:pt x="278001" y="85544"/>
                  </a:cubicBezTo>
                  <a:close/>
                  <a:moveTo>
                    <a:pt x="352200" y="356376"/>
                  </a:moveTo>
                  <a:lnTo>
                    <a:pt x="305797" y="356376"/>
                  </a:lnTo>
                  <a:lnTo>
                    <a:pt x="305797" y="348023"/>
                  </a:lnTo>
                  <a:lnTo>
                    <a:pt x="348023" y="348023"/>
                  </a:lnTo>
                  <a:lnTo>
                    <a:pt x="348023" y="305797"/>
                  </a:lnTo>
                  <a:lnTo>
                    <a:pt x="356388" y="305797"/>
                  </a:lnTo>
                  <a:lnTo>
                    <a:pt x="356388" y="352200"/>
                  </a:lnTo>
                  <a:cubicBezTo>
                    <a:pt x="356376" y="354508"/>
                    <a:pt x="354508" y="356376"/>
                    <a:pt x="352200" y="356376"/>
                  </a:cubicBezTo>
                  <a:close/>
                  <a:moveTo>
                    <a:pt x="50579" y="356376"/>
                  </a:moveTo>
                  <a:lnTo>
                    <a:pt x="4176" y="356376"/>
                  </a:lnTo>
                  <a:cubicBezTo>
                    <a:pt x="1868" y="356376"/>
                    <a:pt x="0" y="354508"/>
                    <a:pt x="0" y="352200"/>
                  </a:cubicBezTo>
                  <a:lnTo>
                    <a:pt x="0" y="305797"/>
                  </a:lnTo>
                  <a:lnTo>
                    <a:pt x="8353" y="305797"/>
                  </a:lnTo>
                  <a:lnTo>
                    <a:pt x="8353" y="348023"/>
                  </a:lnTo>
                  <a:lnTo>
                    <a:pt x="50579" y="348023"/>
                  </a:lnTo>
                  <a:lnTo>
                    <a:pt x="50579" y="356376"/>
                  </a:lnTo>
                  <a:close/>
                  <a:moveTo>
                    <a:pt x="356376" y="50579"/>
                  </a:moveTo>
                  <a:lnTo>
                    <a:pt x="348023" y="50579"/>
                  </a:lnTo>
                  <a:lnTo>
                    <a:pt x="348023" y="8353"/>
                  </a:lnTo>
                  <a:lnTo>
                    <a:pt x="305797" y="8353"/>
                  </a:lnTo>
                  <a:lnTo>
                    <a:pt x="305797" y="0"/>
                  </a:lnTo>
                  <a:lnTo>
                    <a:pt x="352200" y="0"/>
                  </a:lnTo>
                  <a:cubicBezTo>
                    <a:pt x="354508" y="0"/>
                    <a:pt x="356376" y="1868"/>
                    <a:pt x="356376" y="4176"/>
                  </a:cubicBezTo>
                  <a:lnTo>
                    <a:pt x="356376" y="50579"/>
                  </a:lnTo>
                  <a:close/>
                  <a:moveTo>
                    <a:pt x="8353" y="50579"/>
                  </a:moveTo>
                  <a:lnTo>
                    <a:pt x="0" y="50579"/>
                  </a:lnTo>
                  <a:lnTo>
                    <a:pt x="0" y="4176"/>
                  </a:lnTo>
                  <a:cubicBezTo>
                    <a:pt x="0" y="1868"/>
                    <a:pt x="1868" y="0"/>
                    <a:pt x="4176" y="0"/>
                  </a:cubicBezTo>
                  <a:lnTo>
                    <a:pt x="50579" y="0"/>
                  </a:lnTo>
                  <a:lnTo>
                    <a:pt x="50579" y="8353"/>
                  </a:lnTo>
                  <a:lnTo>
                    <a:pt x="8353" y="8353"/>
                  </a:lnTo>
                  <a:lnTo>
                    <a:pt x="8353" y="50579"/>
                  </a:lnTo>
                  <a:close/>
                </a:path>
              </a:pathLst>
            </a:custGeom>
            <a:solidFill>
              <a:srgbClr val="000000"/>
            </a:solidFill>
            <a:ln w="1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98EB2CB-A4C4-8FA8-83CA-989A3D10C5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598826" y="9545836"/>
              <a:ext cx="1438053" cy="1606896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43A87D26-0CA1-6FD1-74F1-68B29AA0E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9671AAB7-74F8-69B4-5058-B4C55198C3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6" name="Freeform 16">
                <a:extLst>
                  <a:ext uri="{FF2B5EF4-FFF2-40B4-BE49-F238E27FC236}">
                    <a16:creationId xmlns:a16="http://schemas.microsoft.com/office/drawing/2014/main" id="{1D4C40F3-3E0F-2260-2515-F437F34E37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75E0F86A-7CDF-30BB-4FBF-9E0482AD7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09EC91C4-2230-2929-EF8D-0F3751B21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C23B2331-B206-A146-ABE1-C7A8DCE71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3428FDF-F598-B39A-75EA-BE7A3160471F}"/>
                </a:ext>
              </a:extLst>
            </p:cNvPr>
            <p:cNvGrpSpPr/>
            <p:nvPr/>
          </p:nvGrpSpPr>
          <p:grpSpPr>
            <a:xfrm>
              <a:off x="17716977" y="3810064"/>
              <a:ext cx="3130592" cy="2387390"/>
              <a:chOff x="17716977" y="3810064"/>
              <a:chExt cx="3130592" cy="2387390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1ACEA55D-7CB6-487E-FAC0-65E80BD1CC3A}"/>
                  </a:ext>
                </a:extLst>
              </p:cNvPr>
              <p:cNvSpPr/>
              <p:nvPr/>
            </p:nvSpPr>
            <p:spPr>
              <a:xfrm>
                <a:off x="18760516" y="3810064"/>
                <a:ext cx="462580" cy="465301"/>
              </a:xfrm>
              <a:custGeom>
                <a:avLst/>
                <a:gdLst>
                  <a:gd name="connsiteX0" fmla="*/ 462581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1 w 462580"/>
                  <a:gd name="connsiteY4" fmla="*/ 232651 h 465301"/>
                  <a:gd name="connsiteX5" fmla="*/ 462581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1" y="232651"/>
                    </a:moveTo>
                    <a:cubicBezTo>
                      <a:pt x="462581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1" y="103400"/>
                      <a:pt x="462581" y="232651"/>
                    </a:cubicBezTo>
                    <a:lnTo>
                      <a:pt x="462581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B2CC863-FF4D-2CE7-11CC-E03AD3BDCD20}"/>
                  </a:ext>
                </a:extLst>
              </p:cNvPr>
              <p:cNvSpPr/>
              <p:nvPr/>
            </p:nvSpPr>
            <p:spPr>
              <a:xfrm>
                <a:off x="19341462" y="3810064"/>
                <a:ext cx="462580" cy="465301"/>
              </a:xfrm>
              <a:custGeom>
                <a:avLst/>
                <a:gdLst>
                  <a:gd name="connsiteX0" fmla="*/ 462580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0 w 462580"/>
                  <a:gd name="connsiteY4" fmla="*/ 232651 h 465301"/>
                  <a:gd name="connsiteX5" fmla="*/ 462580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0" y="232651"/>
                    </a:moveTo>
                    <a:cubicBezTo>
                      <a:pt x="462580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0" y="103400"/>
                      <a:pt x="462580" y="232651"/>
                    </a:cubicBezTo>
                    <a:lnTo>
                      <a:pt x="462580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D4B1108-EE03-F01B-081F-C116211A61A5}"/>
                  </a:ext>
                </a:extLst>
              </p:cNvPr>
              <p:cNvSpPr/>
              <p:nvPr/>
            </p:nvSpPr>
            <p:spPr>
              <a:xfrm>
                <a:off x="17716977" y="4585566"/>
                <a:ext cx="1062586" cy="1145566"/>
              </a:xfrm>
              <a:custGeom>
                <a:avLst/>
                <a:gdLst>
                  <a:gd name="connsiteX0" fmla="*/ 274839 w 1062586"/>
                  <a:gd name="connsiteY0" fmla="*/ 349656 h 1145566"/>
                  <a:gd name="connsiteX1" fmla="*/ 1062586 w 1062586"/>
                  <a:gd name="connsiteY1" fmla="*/ 0 h 1145566"/>
                  <a:gd name="connsiteX2" fmla="*/ 797283 w 1062586"/>
                  <a:gd name="connsiteY2" fmla="*/ 846250 h 1145566"/>
                  <a:gd name="connsiteX3" fmla="*/ 405450 w 1062586"/>
                  <a:gd name="connsiteY3" fmla="*/ 1145567 h 1145566"/>
                  <a:gd name="connsiteX4" fmla="*/ 12 w 1062586"/>
                  <a:gd name="connsiteY4" fmla="*/ 738768 h 1145566"/>
                  <a:gd name="connsiteX5" fmla="*/ 274839 w 1062586"/>
                  <a:gd name="connsiteY5" fmla="*/ 349656 h 1145566"/>
                  <a:gd name="connsiteX6" fmla="*/ 274839 w 1062586"/>
                  <a:gd name="connsiteY6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2586" h="1145566">
                    <a:moveTo>
                      <a:pt x="274839" y="349656"/>
                    </a:moveTo>
                    <a:lnTo>
                      <a:pt x="1062586" y="0"/>
                    </a:lnTo>
                    <a:lnTo>
                      <a:pt x="797283" y="846250"/>
                    </a:lnTo>
                    <a:cubicBezTo>
                      <a:pt x="746943" y="997269"/>
                      <a:pt x="620414" y="1145567"/>
                      <a:pt x="405450" y="1145567"/>
                    </a:cubicBezTo>
                    <a:cubicBezTo>
                      <a:pt x="182323" y="1145567"/>
                      <a:pt x="12" y="963256"/>
                      <a:pt x="12" y="738768"/>
                    </a:cubicBezTo>
                    <a:cubicBezTo>
                      <a:pt x="-1349" y="548294"/>
                      <a:pt x="115657" y="420404"/>
                      <a:pt x="274839" y="349656"/>
                    </a:cubicBezTo>
                    <a:lnTo>
                      <a:pt x="274839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9CFDD6EF-C9E5-4ED1-28AA-4938E92B9383}"/>
                  </a:ext>
                </a:extLst>
              </p:cNvPr>
              <p:cNvSpPr/>
              <p:nvPr/>
            </p:nvSpPr>
            <p:spPr>
              <a:xfrm>
                <a:off x="19784995" y="4585566"/>
                <a:ext cx="1062574" cy="1145566"/>
              </a:xfrm>
              <a:custGeom>
                <a:avLst/>
                <a:gdLst>
                  <a:gd name="connsiteX0" fmla="*/ 787747 w 1062574"/>
                  <a:gd name="connsiteY0" fmla="*/ 349656 h 1145566"/>
                  <a:gd name="connsiteX1" fmla="*/ 0 w 1062574"/>
                  <a:gd name="connsiteY1" fmla="*/ 0 h 1145566"/>
                  <a:gd name="connsiteX2" fmla="*/ 265304 w 1062574"/>
                  <a:gd name="connsiteY2" fmla="*/ 846250 h 1145566"/>
                  <a:gd name="connsiteX3" fmla="*/ 658497 w 1062574"/>
                  <a:gd name="connsiteY3" fmla="*/ 1145567 h 1145566"/>
                  <a:gd name="connsiteX4" fmla="*/ 658497 w 1062574"/>
                  <a:gd name="connsiteY4" fmla="*/ 1145567 h 1145566"/>
                  <a:gd name="connsiteX5" fmla="*/ 1062575 w 1062574"/>
                  <a:gd name="connsiteY5" fmla="*/ 738768 h 1145566"/>
                  <a:gd name="connsiteX6" fmla="*/ 787747 w 1062574"/>
                  <a:gd name="connsiteY6" fmla="*/ 349656 h 1145566"/>
                  <a:gd name="connsiteX7" fmla="*/ 787747 w 1062574"/>
                  <a:gd name="connsiteY7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2574" h="1145566">
                    <a:moveTo>
                      <a:pt x="787747" y="349656"/>
                    </a:moveTo>
                    <a:lnTo>
                      <a:pt x="0" y="0"/>
                    </a:lnTo>
                    <a:lnTo>
                      <a:pt x="265304" y="846250"/>
                    </a:lnTo>
                    <a:cubicBezTo>
                      <a:pt x="315643" y="997269"/>
                      <a:pt x="443533" y="1145567"/>
                      <a:pt x="658497" y="1145567"/>
                    </a:cubicBezTo>
                    <a:lnTo>
                      <a:pt x="658497" y="1145567"/>
                    </a:lnTo>
                    <a:cubicBezTo>
                      <a:pt x="881624" y="1145567"/>
                      <a:pt x="1062575" y="963256"/>
                      <a:pt x="1062575" y="738768"/>
                    </a:cubicBezTo>
                    <a:cubicBezTo>
                      <a:pt x="1062575" y="548294"/>
                      <a:pt x="946930" y="420404"/>
                      <a:pt x="787747" y="349656"/>
                    </a:cubicBezTo>
                    <a:lnTo>
                      <a:pt x="787747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05AE4CA-7C4B-5076-FB77-C6BE83847AB0}"/>
                  </a:ext>
                </a:extLst>
              </p:cNvPr>
              <p:cNvSpPr/>
              <p:nvPr/>
            </p:nvSpPr>
            <p:spPr>
              <a:xfrm>
                <a:off x="18827182" y="4371963"/>
                <a:ext cx="910195" cy="291153"/>
              </a:xfrm>
              <a:custGeom>
                <a:avLst/>
                <a:gdLst>
                  <a:gd name="connsiteX0" fmla="*/ 910195 w 910195"/>
                  <a:gd name="connsiteY0" fmla="*/ 291154 h 291153"/>
                  <a:gd name="connsiteX1" fmla="*/ 454417 w 910195"/>
                  <a:gd name="connsiteY1" fmla="*/ 0 h 291153"/>
                  <a:gd name="connsiteX2" fmla="*/ 0 w 910195"/>
                  <a:gd name="connsiteY2" fmla="*/ 291154 h 291153"/>
                  <a:gd name="connsiteX3" fmla="*/ 910195 w 910195"/>
                  <a:gd name="connsiteY3" fmla="*/ 291154 h 29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0195" h="291153">
                    <a:moveTo>
                      <a:pt x="910195" y="291154"/>
                    </a:moveTo>
                    <a:cubicBezTo>
                      <a:pt x="829924" y="119727"/>
                      <a:pt x="655776" y="0"/>
                      <a:pt x="454417" y="0"/>
                    </a:cubicBezTo>
                    <a:cubicBezTo>
                      <a:pt x="253059" y="0"/>
                      <a:pt x="80271" y="119727"/>
                      <a:pt x="0" y="291154"/>
                    </a:cubicBezTo>
                    <a:lnTo>
                      <a:pt x="910195" y="291154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F87C040-83BA-A90C-F578-05A5E8CA7CB0}"/>
                  </a:ext>
                </a:extLst>
              </p:cNvPr>
              <p:cNvSpPr/>
              <p:nvPr/>
            </p:nvSpPr>
            <p:spPr>
              <a:xfrm>
                <a:off x="18779563" y="4897128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C867717-2B87-90DF-344C-C944B2F0E933}"/>
                  </a:ext>
                </a:extLst>
              </p:cNvPr>
              <p:cNvSpPr/>
              <p:nvPr/>
            </p:nvSpPr>
            <p:spPr>
              <a:xfrm>
                <a:off x="18779563" y="5401884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grpSp>
            <p:nvGrpSpPr>
              <p:cNvPr id="21" name="Graphic 50">
                <a:extLst>
                  <a:ext uri="{FF2B5EF4-FFF2-40B4-BE49-F238E27FC236}">
                    <a16:creationId xmlns:a16="http://schemas.microsoft.com/office/drawing/2014/main" id="{28C0C6A0-C7D6-D8CB-3574-F1D697189D1D}"/>
                  </a:ext>
                </a:extLst>
              </p:cNvPr>
              <p:cNvGrpSpPr/>
              <p:nvPr/>
            </p:nvGrpSpPr>
            <p:grpSpPr>
              <a:xfrm>
                <a:off x="18827236" y="5906301"/>
                <a:ext cx="910195" cy="291153"/>
                <a:chOff x="18827236" y="5906301"/>
                <a:chExt cx="910195" cy="291153"/>
              </a:xfrm>
              <a:solidFill>
                <a:srgbClr val="0F62FE"/>
              </a:solidFill>
            </p:grpSpPr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02B5997E-B7F2-FED9-A284-E02DF9974B6E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4"/>
                </a:p>
              </p:txBody>
            </p:sp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F42F19BE-2813-D96A-A013-7F383BAC1DBF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4"/>
                </a:p>
              </p:txBody>
            </p:sp>
          </p:grpSp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F5416425-C1CF-E64F-F937-86C7D3C1AC76}"/>
                </a:ext>
              </a:extLst>
            </p:cNvPr>
            <p:cNvSpPr/>
            <p:nvPr/>
          </p:nvSpPr>
          <p:spPr bwMode="auto">
            <a:xfrm>
              <a:off x="16137165" y="9556509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32" name="Footer Placeholder 1">
            <a:extLst>
              <a:ext uri="{FF2B5EF4-FFF2-40B4-BE49-F238E27FC236}">
                <a16:creationId xmlns:a16="http://schemas.microsoft.com/office/drawing/2014/main" id="{CFB8F54E-D02B-B808-A8D0-C3C3930BB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3220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 illustration 2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74EAC21-8107-D434-5364-2B1179E9302A}"/>
              </a:ext>
            </a:extLst>
          </p:cNvPr>
          <p:cNvGrpSpPr/>
          <p:nvPr userDrawn="1"/>
        </p:nvGrpSpPr>
        <p:grpSpPr>
          <a:xfrm>
            <a:off x="7673657" y="782414"/>
            <a:ext cx="4231043" cy="5293175"/>
            <a:chOff x="15349314" y="2961244"/>
            <a:chExt cx="6905829" cy="863829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91CFAF2-84BC-7F20-45AE-AFEFC8E637A5}"/>
                </a:ext>
              </a:extLst>
            </p:cNvPr>
            <p:cNvGrpSpPr/>
            <p:nvPr/>
          </p:nvGrpSpPr>
          <p:grpSpPr>
            <a:xfrm>
              <a:off x="15349314" y="8148533"/>
              <a:ext cx="1733550" cy="1740213"/>
              <a:chOff x="15349314" y="8148533"/>
              <a:chExt cx="1733550" cy="1740213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1AA168D-5BD9-B664-71E2-7744E8031929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87635614-5C0E-9F3D-4BF5-A6C631BA86B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20CAF18-9186-DE49-A85A-DCBCAFDEB72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099D6F34-9797-3B94-2511-A50E798A64D7}"/>
                </a:ext>
              </a:extLst>
            </p:cNvPr>
            <p:cNvSpPr/>
            <p:nvPr/>
          </p:nvSpPr>
          <p:spPr bwMode="auto">
            <a:xfrm rot="10800000">
              <a:off x="17073339" y="8156150"/>
              <a:ext cx="1714706" cy="1714706"/>
            </a:xfrm>
            <a:prstGeom prst="chevron">
              <a:avLst/>
            </a:prstGeom>
            <a:solidFill>
              <a:schemeClr val="accent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D2CDA0EB-EDC3-60F7-6A0C-10AEBA48A7CD}"/>
                </a:ext>
              </a:extLst>
            </p:cNvPr>
            <p:cNvSpPr/>
            <p:nvPr/>
          </p:nvSpPr>
          <p:spPr bwMode="auto">
            <a:xfrm rot="16200000">
              <a:off x="17933124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09F49286-A14C-94F0-4FD3-65BA1B0A0564}"/>
                </a:ext>
              </a:extLst>
            </p:cNvPr>
            <p:cNvSpPr/>
            <p:nvPr/>
          </p:nvSpPr>
          <p:spPr bwMode="auto">
            <a:xfrm rot="16200000">
              <a:off x="19666673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1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5" name="Graphic 10">
              <a:extLst>
                <a:ext uri="{FF2B5EF4-FFF2-40B4-BE49-F238E27FC236}">
                  <a16:creationId xmlns:a16="http://schemas.microsoft.com/office/drawing/2014/main" id="{2F5E9458-0EE8-FDEF-2B7B-282F6908251B}"/>
                </a:ext>
              </a:extLst>
            </p:cNvPr>
            <p:cNvSpPr/>
            <p:nvPr/>
          </p:nvSpPr>
          <p:spPr>
            <a:xfrm>
              <a:off x="21393114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6" name="Graphic 10">
              <a:extLst>
                <a:ext uri="{FF2B5EF4-FFF2-40B4-BE49-F238E27FC236}">
                  <a16:creationId xmlns:a16="http://schemas.microsoft.com/office/drawing/2014/main" id="{A63BD186-B314-C0A9-BEE8-C38F637367A0}"/>
                </a:ext>
              </a:extLst>
            </p:cNvPr>
            <p:cNvSpPr/>
            <p:nvPr/>
          </p:nvSpPr>
          <p:spPr>
            <a:xfrm>
              <a:off x="20531120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sp>
          <p:nvSpPr>
            <p:cNvPr id="37" name="Freeform 94">
              <a:extLst>
                <a:ext uri="{FF2B5EF4-FFF2-40B4-BE49-F238E27FC236}">
                  <a16:creationId xmlns:a16="http://schemas.microsoft.com/office/drawing/2014/main" id="{AF95DBD1-3F5E-0F81-A667-6AC8B287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88045" y="2961244"/>
              <a:ext cx="3443392" cy="3443392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674"/>
            </a:p>
          </p:txBody>
        </p:sp>
        <p:sp>
          <p:nvSpPr>
            <p:cNvPr id="38" name="Graphic 15">
              <a:extLst>
                <a:ext uri="{FF2B5EF4-FFF2-40B4-BE49-F238E27FC236}">
                  <a16:creationId xmlns:a16="http://schemas.microsoft.com/office/drawing/2014/main" id="{3233263B-DC50-DFD6-1555-951BB05565CD}"/>
                </a:ext>
              </a:extLst>
            </p:cNvPr>
            <p:cNvSpPr/>
            <p:nvPr/>
          </p:nvSpPr>
          <p:spPr>
            <a:xfrm>
              <a:off x="18795178" y="6419190"/>
              <a:ext cx="1733550" cy="1733550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C31CA7A0-E1EA-CC28-464A-48C141E3A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9BCAF19F-1CE8-B5CA-60ED-FA856519E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1824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3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1549E4-DE64-84A7-B380-3A8726804912}"/>
              </a:ext>
            </a:extLst>
          </p:cNvPr>
          <p:cNvGrpSpPr/>
          <p:nvPr userDrawn="1"/>
        </p:nvGrpSpPr>
        <p:grpSpPr>
          <a:xfrm>
            <a:off x="7614247" y="566935"/>
            <a:ext cx="4286485" cy="5724131"/>
            <a:chOff x="9040276" y="4321637"/>
            <a:chExt cx="4881191" cy="651744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05B46A4-470E-76F3-D85F-4ADF7C970EF3}"/>
                </a:ext>
              </a:extLst>
            </p:cNvPr>
            <p:cNvGrpSpPr/>
            <p:nvPr/>
          </p:nvGrpSpPr>
          <p:grpSpPr>
            <a:xfrm>
              <a:off x="10564253" y="4321637"/>
              <a:ext cx="3195289" cy="3207570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1F28622-E9D5-B245-0CE7-B8F4DA51DB43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86D64841-0D08-B7D0-1F60-CE3B7FB86FAB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7EF55BC-A1AE-39AC-069B-DD57829B8B1C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sp>
          <p:nvSpPr>
            <p:cNvPr id="7" name="Freeform 94">
              <a:extLst>
                <a:ext uri="{FF2B5EF4-FFF2-40B4-BE49-F238E27FC236}">
                  <a16:creationId xmlns:a16="http://schemas.microsoft.com/office/drawing/2014/main" id="{ABEB5656-74F4-9FD9-DC66-2BEC97095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46131" y="8963746"/>
              <a:ext cx="1875336" cy="1875336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674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2AEBA3D-2E1E-3CD0-6047-AD29970D8269}"/>
                </a:ext>
              </a:extLst>
            </p:cNvPr>
            <p:cNvGrpSpPr/>
            <p:nvPr/>
          </p:nvGrpSpPr>
          <p:grpSpPr>
            <a:xfrm>
              <a:off x="10549225" y="7534105"/>
              <a:ext cx="1611649" cy="1600628"/>
              <a:chOff x="18788045" y="8156151"/>
              <a:chExt cx="3467098" cy="3443391"/>
            </a:xfrm>
          </p:grpSpPr>
          <p:sp>
            <p:nvSpPr>
              <p:cNvPr id="10" name="Isosceles Triangle 9">
                <a:extLst>
                  <a:ext uri="{FF2B5EF4-FFF2-40B4-BE49-F238E27FC236}">
                    <a16:creationId xmlns:a16="http://schemas.microsoft.com/office/drawing/2014/main" id="{30B024AE-924C-5013-BFC4-A23193344D38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1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1" name="Isosceles Triangle 10">
                <a:extLst>
                  <a:ext uri="{FF2B5EF4-FFF2-40B4-BE49-F238E27FC236}">
                    <a16:creationId xmlns:a16="http://schemas.microsoft.com/office/drawing/2014/main" id="{CC621DE7-0C86-3370-8254-DCA20D2B66DF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1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4FD813B-98FF-5D22-79E3-E42156204806}"/>
                </a:ext>
              </a:extLst>
            </p:cNvPr>
            <p:cNvSpPr/>
            <p:nvPr/>
          </p:nvSpPr>
          <p:spPr>
            <a:xfrm>
              <a:off x="9040276" y="7421599"/>
              <a:ext cx="1304613" cy="176685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97DADEA-7960-658B-3101-5BFD1C18F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9BF57657-A79F-9678-6440-F135F005ED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2777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4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842CBF4-D34E-F8F5-CD06-504A7FCC7FB3}"/>
              </a:ext>
            </a:extLst>
          </p:cNvPr>
          <p:cNvGrpSpPr/>
          <p:nvPr userDrawn="1"/>
        </p:nvGrpSpPr>
        <p:grpSpPr>
          <a:xfrm>
            <a:off x="7634565" y="308330"/>
            <a:ext cx="4259863" cy="5655323"/>
            <a:chOff x="14749847" y="1666875"/>
            <a:chExt cx="7545926" cy="1001654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28DD47C-6174-1B6C-4A95-602C8EDC721E}"/>
                </a:ext>
              </a:extLst>
            </p:cNvPr>
            <p:cNvGrpSpPr/>
            <p:nvPr/>
          </p:nvGrpSpPr>
          <p:grpSpPr>
            <a:xfrm>
              <a:off x="19717931" y="9127539"/>
              <a:ext cx="2546091" cy="2555876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4FE2C1B-881E-7856-4164-5F06D6DC55ED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D29AD949-F11A-7C8A-6395-2EC579256AC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B49D26A-FD55-E510-C95A-E32ACF10610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D9DD949-0249-15C7-2C46-BE1015E920BB}"/>
                </a:ext>
              </a:extLst>
            </p:cNvPr>
            <p:cNvGrpSpPr/>
            <p:nvPr/>
          </p:nvGrpSpPr>
          <p:grpSpPr>
            <a:xfrm rot="10800000">
              <a:off x="14749848" y="6719847"/>
              <a:ext cx="2620076" cy="2602159"/>
              <a:chOff x="18788045" y="8156151"/>
              <a:chExt cx="3467098" cy="3443391"/>
            </a:xfrm>
          </p:grpSpPr>
          <p:sp>
            <p:nvSpPr>
              <p:cNvPr id="22" name="Isosceles Triangle 21">
                <a:extLst>
                  <a:ext uri="{FF2B5EF4-FFF2-40B4-BE49-F238E27FC236}">
                    <a16:creationId xmlns:a16="http://schemas.microsoft.com/office/drawing/2014/main" id="{81D9A5C7-1D52-6021-6E37-4CD55B8EBBF6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1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id="{264AAA91-6C82-F47A-5662-0182FD625908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1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A1680-FB4E-20EE-F642-535BDD139323}"/>
                </a:ext>
              </a:extLst>
            </p:cNvPr>
            <p:cNvSpPr/>
            <p:nvPr/>
          </p:nvSpPr>
          <p:spPr>
            <a:xfrm>
              <a:off x="17590432" y="6715973"/>
              <a:ext cx="1921392" cy="260216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DB77AB-31CA-9393-C250-D21C90AD747D}"/>
                </a:ext>
              </a:extLst>
            </p:cNvPr>
            <p:cNvGrpSpPr/>
            <p:nvPr/>
          </p:nvGrpSpPr>
          <p:grpSpPr>
            <a:xfrm>
              <a:off x="21004440" y="5488292"/>
              <a:ext cx="1224656" cy="1224655"/>
              <a:chOff x="18495170" y="1113633"/>
              <a:chExt cx="1724061" cy="1724059"/>
            </a:xfrm>
          </p:grpSpPr>
          <p:sp>
            <p:nvSpPr>
              <p:cNvPr id="20" name="Graphic 10">
                <a:extLst>
                  <a:ext uri="{FF2B5EF4-FFF2-40B4-BE49-F238E27FC236}">
                    <a16:creationId xmlns:a16="http://schemas.microsoft.com/office/drawing/2014/main" id="{968278EA-EC7A-C8C1-3D03-67D9517A8E97}"/>
                  </a:ext>
                </a:extLst>
              </p:cNvPr>
              <p:cNvSpPr/>
              <p:nvPr/>
            </p:nvSpPr>
            <p:spPr>
              <a:xfrm rot="16200000">
                <a:off x="18926187" y="68261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  <p:sp>
            <p:nvSpPr>
              <p:cNvPr id="21" name="Graphic 10">
                <a:extLst>
                  <a:ext uri="{FF2B5EF4-FFF2-40B4-BE49-F238E27FC236}">
                    <a16:creationId xmlns:a16="http://schemas.microsoft.com/office/drawing/2014/main" id="{711F2D4E-580F-FDDA-13E8-7599C186951B}"/>
                  </a:ext>
                </a:extLst>
              </p:cNvPr>
              <p:cNvSpPr/>
              <p:nvPr/>
            </p:nvSpPr>
            <p:spPr>
              <a:xfrm rot="5400000">
                <a:off x="18926184" y="154464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4"/>
              </a:p>
            </p:txBody>
          </p:sp>
        </p:grp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03FD4805-C8F0-157A-12EA-E29BF4A6A821}"/>
                </a:ext>
              </a:extLst>
            </p:cNvPr>
            <p:cNvSpPr/>
            <p:nvPr/>
          </p:nvSpPr>
          <p:spPr>
            <a:xfrm>
              <a:off x="19740689" y="4229100"/>
              <a:ext cx="1252842" cy="1252842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4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DCD6226-1598-8CFE-EF19-AD0C32E0FDE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008453" y="1685924"/>
              <a:ext cx="2287320" cy="2555875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2CB82D3E-CDAB-D340-8580-67407B62D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D12FCC87-977D-C8B5-0919-DE4EDDEBE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1FDE1929-28B7-E247-352F-54FD169CB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B0AF65F2-B143-C431-046C-D634071690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51680746-1BA1-4C9F-89B2-982AB1403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7B8460C3-DF07-EEAA-6C0E-7D8F3CE54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 descr="A group of people using laptops&#10;&#10;Description automatically generated">
              <a:extLst>
                <a:ext uri="{FF2B5EF4-FFF2-40B4-BE49-F238E27FC236}">
                  <a16:creationId xmlns:a16="http://schemas.microsoft.com/office/drawing/2014/main" id="{CE1E3EAD-CD89-D4C3-F656-DB3CF66C54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3646" b="4147"/>
            <a:stretch/>
          </p:blipFill>
          <p:spPr>
            <a:xfrm>
              <a:off x="14749847" y="1666875"/>
              <a:ext cx="4998865" cy="5044326"/>
            </a:xfrm>
            <a:prstGeom prst="rect">
              <a:avLst/>
            </a:prstGeom>
          </p:spPr>
        </p:pic>
        <p:pic>
          <p:nvPicPr>
            <p:cNvPr id="13" name="Picture 12" descr="A person wearing glasses and a lanyard&#10;&#10;Description automatically generated">
              <a:extLst>
                <a:ext uri="{FF2B5EF4-FFF2-40B4-BE49-F238E27FC236}">
                  <a16:creationId xmlns:a16="http://schemas.microsoft.com/office/drawing/2014/main" id="{8993B2AB-27BA-285B-936D-B8B136531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746297" y="6710404"/>
              <a:ext cx="2489359" cy="2410785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948DA9FB-7A60-03A2-30BF-33D137653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CEE20336-CC8B-ADA8-185C-AE9487260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0936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8419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411686"/>
      </p:ext>
    </p:extLst>
  </p:cSld>
  <p:clrMapOvr>
    <a:masterClrMapping/>
  </p:clrMapOvr>
  <p:transition spd="med"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4BC1643-59D2-ABAC-0528-D7DF78C1B8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8154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993671-0ACB-A41F-EB8D-C4B133D4A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009" y="838200"/>
            <a:ext cx="9143604" cy="2308226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F114BFC-17E3-BD51-B7D5-36F2A7EEEC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2637" y="3429000"/>
            <a:ext cx="9147426" cy="2527910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8100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2F951-674D-A629-8F1F-8EF9A721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838200"/>
            <a:ext cx="11611844" cy="2308226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5210FE1-708F-5D01-65BE-B09B012659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3429000"/>
            <a:ext cx="11616701" cy="2527910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732D4F4-442B-9B8D-60D6-9CD8D60E6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3917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big text, bottom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D2AC99-2CAD-9FF7-4F8C-C01790911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7" y="160295"/>
            <a:ext cx="8569796" cy="3268706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4FCB43A-01A2-2558-5780-F4751C87B6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286252"/>
            <a:ext cx="5522193" cy="171211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98D6CE8-F26C-9046-1DD1-CAFCF16F1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3446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cyan+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DF3BA29-E81F-2784-6F22-55C9D69D735C}"/>
              </a:ext>
            </a:extLst>
          </p:cNvPr>
          <p:cNvSpPr>
            <a:spLocks/>
          </p:cNvSpPr>
          <p:nvPr userDrawn="1"/>
        </p:nvSpPr>
        <p:spPr bwMode="auto">
          <a:xfrm>
            <a:off x="1" y="0"/>
            <a:ext cx="3047604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44" tIns="60944" rIns="60944" bIns="60944" numCol="1" rtlCol="0" anchor="t" anchorCtr="0" compatLnSpc="1">
            <a:prstTxWarp prst="textNoShape">
              <a:avLst/>
            </a:prstTxWarp>
          </a:bodyPr>
          <a:lstStyle/>
          <a:p>
            <a:pPr defTabSz="609471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7"/>
            <a:ext cx="247389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2492678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0457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white+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7"/>
            <a:ext cx="247389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2492678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BE503C-A69C-5EFC-BA7A-97308B436F87}"/>
              </a:ext>
            </a:extLst>
          </p:cNvPr>
          <p:cNvSpPr/>
          <p:nvPr userDrawn="1"/>
        </p:nvSpPr>
        <p:spPr bwMode="auto">
          <a:xfrm>
            <a:off x="3047603" y="0"/>
            <a:ext cx="9144397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44" tIns="60944" rIns="60944" bIns="60944" numCol="1" rtlCol="0" anchor="t" anchorCtr="0" compatLnSpc="1">
            <a:prstTxWarp prst="textNoShape">
              <a:avLst/>
            </a:prstTxWarp>
          </a:bodyPr>
          <a:lstStyle/>
          <a:p>
            <a:pPr defTabSz="609471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heading,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11631520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592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E1F66A6-2402-265D-0101-B6536490AFAC}"/>
              </a:ext>
            </a:extLst>
          </p:cNvPr>
          <p:cNvSpPr>
            <a:spLocks/>
          </p:cNvSpPr>
          <p:nvPr userDrawn="1"/>
        </p:nvSpPr>
        <p:spPr bwMode="auto">
          <a:xfrm>
            <a:off x="6095207" y="0"/>
            <a:ext cx="6096793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44" tIns="60944" rIns="60944" bIns="60944" numCol="1" rtlCol="0" anchor="t" anchorCtr="0" compatLnSpc="1">
            <a:prstTxWarp prst="textNoShape">
              <a:avLst/>
            </a:prstTxWarp>
          </a:bodyPr>
          <a:lstStyle/>
          <a:p>
            <a:pPr defTabSz="609471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16610E-CC1C-9D9D-DB96-DEDE65B2F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9EE314B-511F-9A49-0794-209E594425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80031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9494A4E-96C8-934A-2BEF-CA4D3BB18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5542757" cy="984629"/>
          </a:xfrm>
        </p:spPr>
        <p:txBody>
          <a:bodyPr rIns="457200">
            <a:spAutoFit/>
          </a:bodyPr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5665D22-4DC3-21E1-0450-1EE2C28B9B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80126" y="191938"/>
            <a:ext cx="5542828" cy="492919"/>
          </a:xfrm>
          <a:ln>
            <a:noFill/>
          </a:ln>
        </p:spPr>
        <p:txBody>
          <a:bodyPr/>
          <a:lstStyle>
            <a:lvl1pPr>
              <a:defRPr lang="en-US" sz="3199" b="0" i="0" u="none" strike="noStrike" cap="none" spc="0" baseline="0" dirty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AE8B7DB9-996A-C58F-4CBB-E199A8CCE1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7115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232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250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2960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6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232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6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250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6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29601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2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4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6" indent="-127992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111CE7A-DCC6-C6F9-EFAF-A6237664B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2866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3A9828E-59C5-8F35-8188-B2E56BD7E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2413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47740"/>
      </p:ext>
    </p:extLst>
  </p:cSld>
  <p:clrMapOvr>
    <a:masterClrMapping/>
  </p:clrMapOvr>
  <p:transition spd="med"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08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4CC2ED5C-4106-4DAB-0D25-FB50E33CA4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3048000"/>
            <a:ext cx="6096001" cy="304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02F5B7-9038-3AE2-621E-A2E9A1929D4A}"/>
              </a:ext>
            </a:extLst>
          </p:cNvPr>
          <p:cNvSpPr/>
          <p:nvPr userDrawn="1"/>
        </p:nvSpPr>
        <p:spPr bwMode="auto">
          <a:xfrm>
            <a:off x="6096000" y="0"/>
            <a:ext cx="3047603" cy="3048000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888" tIns="121888" rIns="121888" bIns="121888" numCol="1" rtlCol="0" anchor="t" anchorCtr="0" compatLnSpc="1">
            <a:prstTxWarp prst="textNoShape">
              <a:avLst/>
            </a:prstTxWarp>
          </a:bodyPr>
          <a:lstStyle/>
          <a:p>
            <a:pPr defTabSz="1218942" fontAlgn="base">
              <a:spcBef>
                <a:spcPct val="0"/>
              </a:spcBef>
              <a:spcAft>
                <a:spcPct val="0"/>
              </a:spcAft>
            </a:pPr>
            <a:endParaRPr lang="en-US" sz="1866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9143603" y="3048000"/>
            <a:ext cx="3047603" cy="304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888" tIns="121888" rIns="121888" bIns="121888" numCol="1" rtlCol="0" anchor="t" anchorCtr="0" compatLnSpc="1">
            <a:prstTxWarp prst="textNoShape">
              <a:avLst/>
            </a:prstTxWarp>
          </a:bodyPr>
          <a:lstStyle/>
          <a:p>
            <a:pPr defTabSz="1218942" fontAlgn="base">
              <a:spcBef>
                <a:spcPct val="0"/>
              </a:spcBef>
              <a:spcAft>
                <a:spcPct val="0"/>
              </a:spcAft>
            </a:pPr>
            <a:endParaRPr lang="en-US" sz="1866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429002"/>
            <a:ext cx="2474591" cy="2373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160B3E-5D79-4A62-FCA2-1B484BEE3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4371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6096001" y="2571751"/>
            <a:ext cx="6095205" cy="3453912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888" tIns="121888" rIns="121888" bIns="121888" numCol="1" rtlCol="0" anchor="t" anchorCtr="0" compatLnSpc="1">
            <a:prstTxWarp prst="textNoShape">
              <a:avLst/>
            </a:prstTxWarp>
          </a:bodyPr>
          <a:lstStyle/>
          <a:p>
            <a:pPr defTabSz="1218942" fontAlgn="base">
              <a:spcBef>
                <a:spcPct val="0"/>
              </a:spcBef>
              <a:spcAft>
                <a:spcPct val="0"/>
              </a:spcAft>
            </a:pPr>
            <a:endParaRPr lang="en-US" sz="1866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048002"/>
            <a:ext cx="5519813" cy="2754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E7CC6F1F-41E2-5A91-1CE7-497492742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7934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D84389E-2F2D-9416-2656-943C7107E99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53157" y="2981575"/>
            <a:ext cx="2742843" cy="27432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76203F-C24F-2617-30C6-D86779E1B495}"/>
              </a:ext>
            </a:extLst>
          </p:cNvPr>
          <p:cNvSpPr/>
          <p:nvPr userDrawn="1"/>
        </p:nvSpPr>
        <p:spPr bwMode="auto">
          <a:xfrm>
            <a:off x="6093972" y="2981575"/>
            <a:ext cx="6097235" cy="27432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888" tIns="121888" rIns="121888" bIns="121888" numCol="1" rtlCol="0" anchor="t" anchorCtr="0" compatLnSpc="1">
            <a:prstTxWarp prst="textNoShape">
              <a:avLst/>
            </a:prstTxWarp>
          </a:bodyPr>
          <a:lstStyle/>
          <a:p>
            <a:pPr defTabSz="1218942" fontAlgn="base">
              <a:spcBef>
                <a:spcPct val="0"/>
              </a:spcBef>
              <a:spcAft>
                <a:spcPct val="0"/>
              </a:spcAft>
            </a:pPr>
            <a:endParaRPr lang="en-US" sz="1866" dirty="0">
              <a:solidFill>
                <a:schemeClr val="bg1"/>
              </a:solidFill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8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393849"/>
            <a:ext cx="5519813" cy="1749652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2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4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6" indent="-127992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378BCC9-F931-23B3-1F50-B47B00613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8110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2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9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2477765" cy="2286795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8" y="284958"/>
            <a:ext cx="2476179" cy="5715795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1" y="284958"/>
            <a:ext cx="2474589" cy="5715795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CEECD73-1869-3DB0-AA71-BA427640113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20"/>
            <a:ext cx="2477765" cy="190500"/>
          </a:xfrm>
        </p:spPr>
        <p:txBody>
          <a:bodyPr/>
          <a:lstStyle/>
          <a:p>
            <a:r>
              <a:rPr lang="en-US" dirty="0"/>
              <a:t>IBM Software | © 2023 IBM Corporation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852519997"/>
      </p:ext>
    </p:extLst>
  </p:cSld>
  <p:clrMapOvr>
    <a:masterClrMapping/>
  </p:clrMapOvr>
  <p:transition spd="med"/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7" y="3429000"/>
            <a:ext cx="5050131" cy="1451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7" y="5143500"/>
            <a:ext cx="5050131" cy="854869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4" y="288036"/>
            <a:ext cx="1878950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</p:spTree>
    <p:extLst>
      <p:ext uri="{BB962C8B-B14F-4D97-AF65-F5344CB8AC3E}">
        <p14:creationId xmlns:p14="http://schemas.microsoft.com/office/powerpoint/2010/main" val="26090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7" y="3429000"/>
            <a:ext cx="5050131" cy="1451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7" y="5143500"/>
            <a:ext cx="5050131" cy="854869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1AC2598-525B-204C-95FB-62C1BD803BA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E16743-7FE4-7DB0-AE65-92E8AEA8C0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0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8B38A97-2CAA-48A7-79F9-9B76C797D4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4" y="288036"/>
            <a:ext cx="1878950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75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9C574D-E3CA-271A-2D3C-AB862EF9A94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BAE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8" cy="207085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4" y="288036"/>
            <a:ext cx="1878950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57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91472"/>
      </p:ext>
    </p:extLst>
  </p:cSld>
  <p:clrMapOvr>
    <a:masterClrMapping/>
  </p:clrMapOvr>
  <p:transition spd="med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grey,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0E0E0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77CB7A-A231-1534-5954-080B621EA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2498941" cy="3193218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aphic 5">
            <a:extLst>
              <a:ext uri="{FF2B5EF4-FFF2-40B4-BE49-F238E27FC236}">
                <a16:creationId xmlns:a16="http://schemas.microsoft.com/office/drawing/2014/main" id="{E6726568-1AAC-4883-1825-DDEDA18BDBEA}"/>
              </a:ext>
            </a:extLst>
          </p:cNvPr>
          <p:cNvGrpSpPr/>
          <p:nvPr userDrawn="1"/>
        </p:nvGrpSpPr>
        <p:grpSpPr>
          <a:xfrm>
            <a:off x="299134" y="288036"/>
            <a:ext cx="1878950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7A01B9C-EA60-8D4D-AB93-C092DBE754AD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306717C-6924-0C8A-21A0-C569E6AAC0DC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66FB8A-262C-8896-C2A0-05F728C44295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1D8D11-039B-0465-8C3D-ACC20C043823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1DD1D50-472C-4935-8B92-783AE9E5AC2F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903EEEF-CE48-C4E7-7217-1BE1A5AD6F1C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95B386C-E66C-B8E1-367D-F62E63A1E945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B970690-C730-5B65-76F4-F4E5E9AF8EA5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3CAEF68-F1CF-5981-7291-85BCBE453CE0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1CC5BB-2B13-B3BD-19B7-C3ADDC9468A0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0FAA62-F02D-5AB5-E499-6D60AA797705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2FC2C34-E5BD-C43A-3949-47695E913DE8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4288BC-FE42-684B-4479-86B104A27BAC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5FB2B6-B36D-28AA-110C-399F8C827B77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</p:spTree>
    <p:extLst>
      <p:ext uri="{BB962C8B-B14F-4D97-AF65-F5344CB8AC3E}">
        <p14:creationId xmlns:p14="http://schemas.microsoft.com/office/powerpoint/2010/main" val="207071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4" y="191938"/>
            <a:ext cx="5533226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5474" y="1714500"/>
            <a:ext cx="548569" cy="4283869"/>
          </a:xfrm>
        </p:spPr>
        <p:txBody>
          <a:bodyPr/>
          <a:lstStyle>
            <a:lvl1pPr defTabSz="580528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0698" y="1714500"/>
            <a:ext cx="4788002" cy="4283869"/>
          </a:xfrm>
        </p:spPr>
        <p:txBody>
          <a:bodyPr/>
          <a:lstStyle>
            <a:lvl1pPr defTabSz="580528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F56E4FC-4F4B-6819-0E70-B1E3FCFE1771}"/>
              </a:ext>
            </a:extLst>
          </p:cNvPr>
          <p:cNvGrpSpPr/>
          <p:nvPr userDrawn="1"/>
        </p:nvGrpSpPr>
        <p:grpSpPr>
          <a:xfrm>
            <a:off x="6721557" y="469888"/>
            <a:ext cx="5179175" cy="5340299"/>
            <a:chOff x="13444864" y="939775"/>
            <a:chExt cx="10359699" cy="10680597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C19D446-9B19-9D35-31C5-967D359C48D8}"/>
                </a:ext>
              </a:extLst>
            </p:cNvPr>
            <p:cNvSpPr/>
            <p:nvPr/>
          </p:nvSpPr>
          <p:spPr>
            <a:xfrm>
              <a:off x="17349086" y="767050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4C7E27-E132-CFA4-784E-80F28D9067C6}"/>
                </a:ext>
              </a:extLst>
            </p:cNvPr>
            <p:cNvSpPr/>
            <p:nvPr/>
          </p:nvSpPr>
          <p:spPr>
            <a:xfrm>
              <a:off x="17349086" y="635381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5B2D417-4CC7-D740-8DF7-3FE67DC4106D}"/>
                </a:ext>
              </a:extLst>
            </p:cNvPr>
            <p:cNvSpPr/>
            <p:nvPr/>
          </p:nvSpPr>
          <p:spPr>
            <a:xfrm>
              <a:off x="16032391" y="635381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A2D2D1-B084-06FE-4A84-A027D86BEDF4}"/>
                </a:ext>
              </a:extLst>
            </p:cNvPr>
            <p:cNvSpPr/>
            <p:nvPr/>
          </p:nvSpPr>
          <p:spPr>
            <a:xfrm>
              <a:off x="16032391" y="767050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938E40C-359A-A37F-29E1-EB16CAF3C201}"/>
                </a:ext>
              </a:extLst>
            </p:cNvPr>
            <p:cNvSpPr/>
            <p:nvPr/>
          </p:nvSpPr>
          <p:spPr>
            <a:xfrm>
              <a:off x="17349086" y="1030378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8A44FA-1611-7D81-EF87-01B6ABFDDF54}"/>
                </a:ext>
              </a:extLst>
            </p:cNvPr>
            <p:cNvSpPr/>
            <p:nvPr/>
          </p:nvSpPr>
          <p:spPr>
            <a:xfrm>
              <a:off x="17349086" y="898709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018DDB-59F4-739B-3A29-EA8D360A0F4B}"/>
                </a:ext>
              </a:extLst>
            </p:cNvPr>
            <p:cNvSpPr/>
            <p:nvPr/>
          </p:nvSpPr>
          <p:spPr>
            <a:xfrm>
              <a:off x="16032391" y="898709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07333AF-A0FA-9C4E-078E-FFAA948EB586}"/>
                </a:ext>
              </a:extLst>
            </p:cNvPr>
            <p:cNvSpPr/>
            <p:nvPr/>
          </p:nvSpPr>
          <p:spPr>
            <a:xfrm>
              <a:off x="16032391" y="1030378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E5D0604-71A4-3262-6777-C26A1E4BED09}"/>
                </a:ext>
              </a:extLst>
            </p:cNvPr>
            <p:cNvGrpSpPr/>
            <p:nvPr userDrawn="1"/>
          </p:nvGrpSpPr>
          <p:grpSpPr>
            <a:xfrm>
              <a:off x="19116217" y="8045049"/>
              <a:ext cx="4688346" cy="3575323"/>
              <a:chOff x="18665871" y="6353812"/>
              <a:chExt cx="4688346" cy="3575323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C8CEC6E-2EF3-9151-AD14-A5B1C424012D}"/>
                  </a:ext>
                </a:extLst>
              </p:cNvPr>
              <p:cNvSpPr/>
              <p:nvPr/>
            </p:nvSpPr>
            <p:spPr>
              <a:xfrm>
                <a:off x="20228520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98B6CDA-933B-C2CE-5627-85D68933F21B}"/>
                  </a:ext>
                </a:extLst>
              </p:cNvPr>
              <p:cNvSpPr/>
              <p:nvPr/>
            </p:nvSpPr>
            <p:spPr>
              <a:xfrm>
                <a:off x="21098546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1A88E81-4E6F-DCE8-E2C2-C3BCBC558A77}"/>
                  </a:ext>
                </a:extLst>
              </p:cNvPr>
              <p:cNvSpPr/>
              <p:nvPr/>
            </p:nvSpPr>
            <p:spPr>
              <a:xfrm>
                <a:off x="18665871" y="7515196"/>
                <a:ext cx="1591215" cy="1715533"/>
              </a:xfrm>
              <a:custGeom>
                <a:avLst/>
                <a:gdLst>
                  <a:gd name="connsiteX0" fmla="*/ 358156 w 1384760"/>
                  <a:gd name="connsiteY0" fmla="*/ 455676 h 1492948"/>
                  <a:gd name="connsiteX1" fmla="*/ 16 w 1384760"/>
                  <a:gd name="connsiteY1" fmla="*/ 962787 h 1492948"/>
                  <a:gd name="connsiteX2" fmla="*/ 528367 w 1384760"/>
                  <a:gd name="connsiteY2" fmla="*/ 1492949 h 1492948"/>
                  <a:gd name="connsiteX3" fmla="*/ 1039004 w 1384760"/>
                  <a:gd name="connsiteY3" fmla="*/ 1102900 h 1492948"/>
                  <a:gd name="connsiteX4" fmla="*/ 1384761 w 1384760"/>
                  <a:gd name="connsiteY4" fmla="*/ 0 h 1492948"/>
                  <a:gd name="connsiteX5" fmla="*/ 358156 w 1384760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760" h="1492948">
                    <a:moveTo>
                      <a:pt x="358156" y="455676"/>
                    </a:moveTo>
                    <a:cubicBezTo>
                      <a:pt x="150702" y="547878"/>
                      <a:pt x="-1793" y="714566"/>
                      <a:pt x="16" y="962787"/>
                    </a:cubicBezTo>
                    <a:cubicBezTo>
                      <a:pt x="16" y="1255395"/>
                      <a:pt x="237570" y="1492949"/>
                      <a:pt x="528367" y="1492949"/>
                    </a:cubicBezTo>
                    <a:cubicBezTo>
                      <a:pt x="819166" y="1492949"/>
                      <a:pt x="973472" y="1299686"/>
                      <a:pt x="1039004" y="1102900"/>
                    </a:cubicBezTo>
                    <a:lnTo>
                      <a:pt x="1384761" y="0"/>
                    </a:lnTo>
                    <a:lnTo>
                      <a:pt x="358156" y="45567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E874D3F4-95F3-B3B2-1746-FEECEA5BA626}"/>
                  </a:ext>
                </a:extLst>
              </p:cNvPr>
              <p:cNvSpPr/>
              <p:nvPr/>
            </p:nvSpPr>
            <p:spPr>
              <a:xfrm>
                <a:off x="21762911" y="7515196"/>
                <a:ext cx="1591306" cy="1715533"/>
              </a:xfrm>
              <a:custGeom>
                <a:avLst/>
                <a:gdLst>
                  <a:gd name="connsiteX0" fmla="*/ 1026605 w 1384839"/>
                  <a:gd name="connsiteY0" fmla="*/ 455676 h 1492948"/>
                  <a:gd name="connsiteX1" fmla="*/ 0 w 1384839"/>
                  <a:gd name="connsiteY1" fmla="*/ 0 h 1492948"/>
                  <a:gd name="connsiteX2" fmla="*/ 345758 w 1384839"/>
                  <a:gd name="connsiteY2" fmla="*/ 1102900 h 1492948"/>
                  <a:gd name="connsiteX3" fmla="*/ 858203 w 1384839"/>
                  <a:gd name="connsiteY3" fmla="*/ 1492949 h 1492948"/>
                  <a:gd name="connsiteX4" fmla="*/ 1384840 w 1384839"/>
                  <a:gd name="connsiteY4" fmla="*/ 962787 h 1492948"/>
                  <a:gd name="connsiteX5" fmla="*/ 1026700 w 1384839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839" h="1492948">
                    <a:moveTo>
                      <a:pt x="1026605" y="455676"/>
                    </a:moveTo>
                    <a:lnTo>
                      <a:pt x="0" y="0"/>
                    </a:lnTo>
                    <a:lnTo>
                      <a:pt x="345758" y="1102900"/>
                    </a:lnTo>
                    <a:cubicBezTo>
                      <a:pt x="411385" y="1299686"/>
                      <a:pt x="578073" y="1492949"/>
                      <a:pt x="858203" y="1492949"/>
                    </a:cubicBezTo>
                    <a:cubicBezTo>
                      <a:pt x="1138333" y="1492949"/>
                      <a:pt x="1384840" y="1255300"/>
                      <a:pt x="1384840" y="962787"/>
                    </a:cubicBezTo>
                    <a:cubicBezTo>
                      <a:pt x="1384840" y="714566"/>
                      <a:pt x="1234155" y="547878"/>
                      <a:pt x="1026700" y="4556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F92CEBD-3053-5B9E-A1FB-D34D266A91CA}"/>
                  </a:ext>
                </a:extLst>
              </p:cNvPr>
              <p:cNvSpPr/>
              <p:nvPr/>
            </p:nvSpPr>
            <p:spPr>
              <a:xfrm>
                <a:off x="20328449" y="7195271"/>
                <a:ext cx="1363101" cy="436052"/>
              </a:xfrm>
              <a:custGeom>
                <a:avLst/>
                <a:gdLst>
                  <a:gd name="connsiteX0" fmla="*/ 0 w 1186243"/>
                  <a:gd name="connsiteY0" fmla="*/ 379476 h 379476"/>
                  <a:gd name="connsiteX1" fmla="*/ 1186244 w 1186243"/>
                  <a:gd name="connsiteY1" fmla="*/ 379476 h 379476"/>
                  <a:gd name="connsiteX2" fmla="*/ 592265 w 1186243"/>
                  <a:gd name="connsiteY2" fmla="*/ 0 h 379476"/>
                  <a:gd name="connsiteX3" fmla="*/ 0 w 1186243"/>
                  <a:gd name="connsiteY3" fmla="*/ 379476 h 37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6">
                    <a:moveTo>
                      <a:pt x="0" y="379476"/>
                    </a:moveTo>
                    <a:lnTo>
                      <a:pt x="1186244" y="379476"/>
                    </a:lnTo>
                    <a:cubicBezTo>
                      <a:pt x="1081658" y="156020"/>
                      <a:pt x="854678" y="0"/>
                      <a:pt x="592265" y="0"/>
                    </a:cubicBezTo>
                    <a:cubicBezTo>
                      <a:pt x="329851" y="0"/>
                      <a:pt x="104680" y="156020"/>
                      <a:pt x="0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564CE5C-12FD-B249-1D0D-F2A069CD6792}"/>
                  </a:ext>
                </a:extLst>
              </p:cNvPr>
              <p:cNvSpPr/>
              <p:nvPr/>
            </p:nvSpPr>
            <p:spPr>
              <a:xfrm>
                <a:off x="20257087" y="7981786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843E3C8-1E4C-DCB0-2AE2-A81D7CB66805}"/>
                  </a:ext>
                </a:extLst>
              </p:cNvPr>
              <p:cNvSpPr/>
              <p:nvPr/>
            </p:nvSpPr>
            <p:spPr>
              <a:xfrm>
                <a:off x="20257087" y="8737653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9BE9E2B-4614-4D59-8F8C-EC0679543296}"/>
                  </a:ext>
                </a:extLst>
              </p:cNvPr>
              <p:cNvSpPr/>
              <p:nvPr/>
            </p:nvSpPr>
            <p:spPr>
              <a:xfrm>
                <a:off x="20328558" y="9493084"/>
                <a:ext cx="1363101" cy="436051"/>
              </a:xfrm>
              <a:custGeom>
                <a:avLst/>
                <a:gdLst>
                  <a:gd name="connsiteX0" fmla="*/ 593979 w 1186243"/>
                  <a:gd name="connsiteY0" fmla="*/ 379476 h 379475"/>
                  <a:gd name="connsiteX1" fmla="*/ 1186244 w 1186243"/>
                  <a:gd name="connsiteY1" fmla="*/ 0 h 379475"/>
                  <a:gd name="connsiteX2" fmla="*/ 0 w 1186243"/>
                  <a:gd name="connsiteY2" fmla="*/ 0 h 379475"/>
                  <a:gd name="connsiteX3" fmla="*/ 593979 w 1186243"/>
                  <a:gd name="connsiteY3" fmla="*/ 379476 h 379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5">
                    <a:moveTo>
                      <a:pt x="593979" y="379476"/>
                    </a:moveTo>
                    <a:cubicBezTo>
                      <a:pt x="856393" y="379476"/>
                      <a:pt x="1081563" y="223456"/>
                      <a:pt x="1186244" y="0"/>
                    </a:cubicBezTo>
                    <a:lnTo>
                      <a:pt x="0" y="0"/>
                    </a:lnTo>
                    <a:cubicBezTo>
                      <a:pt x="104584" y="223456"/>
                      <a:pt x="331565" y="379476"/>
                      <a:pt x="593979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79D554C5-4D78-A521-DE6D-6976CCC21952}"/>
                </a:ext>
              </a:extLst>
            </p:cNvPr>
            <p:cNvGrpSpPr/>
            <p:nvPr userDrawn="1"/>
          </p:nvGrpSpPr>
          <p:grpSpPr>
            <a:xfrm>
              <a:off x="18629724" y="3527195"/>
              <a:ext cx="2587419" cy="2587313"/>
              <a:chOff x="18629724" y="3527195"/>
              <a:chExt cx="2587419" cy="2587313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5A806E2-6E9A-03EC-ECFB-67CA83F60271}"/>
                  </a:ext>
                </a:extLst>
              </p:cNvPr>
              <p:cNvSpPr/>
              <p:nvPr/>
            </p:nvSpPr>
            <p:spPr>
              <a:xfrm>
                <a:off x="18629724" y="4820852"/>
                <a:ext cx="1293763" cy="1293656"/>
              </a:xfrm>
              <a:custGeom>
                <a:avLst/>
                <a:gdLst>
                  <a:gd name="connsiteX0" fmla="*/ 0 w 1145857"/>
                  <a:gd name="connsiteY0" fmla="*/ 1145762 h 1145762"/>
                  <a:gd name="connsiteX1" fmla="*/ 1145858 w 1145857"/>
                  <a:gd name="connsiteY1" fmla="*/ 1145762 h 1145762"/>
                  <a:gd name="connsiteX2" fmla="*/ 0 w 1145857"/>
                  <a:gd name="connsiteY2" fmla="*/ 0 h 1145762"/>
                  <a:gd name="connsiteX3" fmla="*/ 0 w 1145857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1145762"/>
                    </a:moveTo>
                    <a:lnTo>
                      <a:pt x="1145858" y="1145762"/>
                    </a:lnTo>
                    <a:lnTo>
                      <a:pt x="0" y="0"/>
                    </a:lnTo>
                    <a:lnTo>
                      <a:pt x="0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34F7C97-D53E-0D16-A284-6ADEFE52914F}"/>
                  </a:ext>
                </a:extLst>
              </p:cNvPr>
              <p:cNvSpPr/>
              <p:nvPr/>
            </p:nvSpPr>
            <p:spPr>
              <a:xfrm>
                <a:off x="18629724" y="3527195"/>
                <a:ext cx="1293763" cy="1293656"/>
              </a:xfrm>
              <a:custGeom>
                <a:avLst/>
                <a:gdLst>
                  <a:gd name="connsiteX0" fmla="*/ 0 w 1145857"/>
                  <a:gd name="connsiteY0" fmla="*/ 0 h 1145762"/>
                  <a:gd name="connsiteX1" fmla="*/ 0 w 1145857"/>
                  <a:gd name="connsiteY1" fmla="*/ 1145762 h 1145762"/>
                  <a:gd name="connsiteX2" fmla="*/ 1145858 w 1145857"/>
                  <a:gd name="connsiteY2" fmla="*/ 0 h 1145762"/>
                  <a:gd name="connsiteX3" fmla="*/ 0 w 1145857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0"/>
                    </a:moveTo>
                    <a:lnTo>
                      <a:pt x="0" y="1145762"/>
                    </a:lnTo>
                    <a:lnTo>
                      <a:pt x="114585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8FCE339-B37E-CC68-C265-877A24B1FFBA}"/>
                  </a:ext>
                </a:extLst>
              </p:cNvPr>
              <p:cNvSpPr/>
              <p:nvPr/>
            </p:nvSpPr>
            <p:spPr>
              <a:xfrm>
                <a:off x="19923487" y="3527195"/>
                <a:ext cx="1293656" cy="1293656"/>
              </a:xfrm>
              <a:custGeom>
                <a:avLst/>
                <a:gdLst>
                  <a:gd name="connsiteX0" fmla="*/ 0 w 1145762"/>
                  <a:gd name="connsiteY0" fmla="*/ 0 h 1145762"/>
                  <a:gd name="connsiteX1" fmla="*/ 1145762 w 1145762"/>
                  <a:gd name="connsiteY1" fmla="*/ 1145762 h 1145762"/>
                  <a:gd name="connsiteX2" fmla="*/ 1145762 w 1145762"/>
                  <a:gd name="connsiteY2" fmla="*/ 0 h 1145762"/>
                  <a:gd name="connsiteX3" fmla="*/ 0 w 1145762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0" y="0"/>
                    </a:moveTo>
                    <a:lnTo>
                      <a:pt x="1145762" y="1145762"/>
                    </a:lnTo>
                    <a:lnTo>
                      <a:pt x="114576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18D16EF-9D55-AE23-E4CE-EE677917EACB}"/>
                  </a:ext>
                </a:extLst>
              </p:cNvPr>
              <p:cNvSpPr/>
              <p:nvPr/>
            </p:nvSpPr>
            <p:spPr>
              <a:xfrm>
                <a:off x="19923487" y="4820852"/>
                <a:ext cx="1293656" cy="1293656"/>
              </a:xfrm>
              <a:custGeom>
                <a:avLst/>
                <a:gdLst>
                  <a:gd name="connsiteX0" fmla="*/ 1145762 w 1145762"/>
                  <a:gd name="connsiteY0" fmla="*/ 1145762 h 1145762"/>
                  <a:gd name="connsiteX1" fmla="*/ 1145762 w 1145762"/>
                  <a:gd name="connsiteY1" fmla="*/ 0 h 1145762"/>
                  <a:gd name="connsiteX2" fmla="*/ 0 w 1145762"/>
                  <a:gd name="connsiteY2" fmla="*/ 1145762 h 1145762"/>
                  <a:gd name="connsiteX3" fmla="*/ 1145762 w 1145762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1145762" y="1145762"/>
                    </a:moveTo>
                    <a:lnTo>
                      <a:pt x="1145762" y="0"/>
                    </a:lnTo>
                    <a:lnTo>
                      <a:pt x="0" y="1145762"/>
                    </a:lnTo>
                    <a:lnTo>
                      <a:pt x="1145762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C7BFF6C-B251-D366-5456-A88198077E4E}"/>
                </a:ext>
              </a:extLst>
            </p:cNvPr>
            <p:cNvSpPr/>
            <p:nvPr userDrawn="1"/>
          </p:nvSpPr>
          <p:spPr>
            <a:xfrm>
              <a:off x="21217143" y="939775"/>
              <a:ext cx="1293763" cy="2587419"/>
            </a:xfrm>
            <a:custGeom>
              <a:avLst/>
              <a:gdLst>
                <a:gd name="connsiteX0" fmla="*/ 1145858 w 1145857"/>
                <a:gd name="connsiteY0" fmla="*/ 1145762 h 2291619"/>
                <a:gd name="connsiteX1" fmla="*/ 0 w 1145857"/>
                <a:gd name="connsiteY1" fmla="*/ 0 h 2291619"/>
                <a:gd name="connsiteX2" fmla="*/ 0 w 1145857"/>
                <a:gd name="connsiteY2" fmla="*/ 2291620 h 2291619"/>
                <a:gd name="connsiteX3" fmla="*/ 1145762 w 1145857"/>
                <a:gd name="connsiteY3" fmla="*/ 1145858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2291619">
                  <a:moveTo>
                    <a:pt x="1145858" y="1145762"/>
                  </a:moveTo>
                  <a:cubicBezTo>
                    <a:pt x="1145858" y="513112"/>
                    <a:pt x="632746" y="0"/>
                    <a:pt x="0" y="0"/>
                  </a:cubicBezTo>
                  <a:lnTo>
                    <a:pt x="0" y="2291620"/>
                  </a:lnTo>
                  <a:cubicBezTo>
                    <a:pt x="632746" y="2291620"/>
                    <a:pt x="1145762" y="1778699"/>
                    <a:pt x="1145762" y="1145858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5E291BF-A9FF-E67A-5CF9-D17412BE7D09}"/>
                </a:ext>
              </a:extLst>
            </p:cNvPr>
            <p:cNvSpPr/>
            <p:nvPr userDrawn="1"/>
          </p:nvSpPr>
          <p:spPr>
            <a:xfrm>
              <a:off x="22510907" y="939775"/>
              <a:ext cx="1293656" cy="2587419"/>
            </a:xfrm>
            <a:custGeom>
              <a:avLst/>
              <a:gdLst>
                <a:gd name="connsiteX0" fmla="*/ 1145762 w 1145762"/>
                <a:gd name="connsiteY0" fmla="*/ 2291620 h 2291619"/>
                <a:gd name="connsiteX1" fmla="*/ 1145762 w 1145762"/>
                <a:gd name="connsiteY1" fmla="*/ 0 h 2291619"/>
                <a:gd name="connsiteX2" fmla="*/ 0 w 1145762"/>
                <a:gd name="connsiteY2" fmla="*/ 1145762 h 2291619"/>
                <a:gd name="connsiteX3" fmla="*/ 1145762 w 1145762"/>
                <a:gd name="connsiteY3" fmla="*/ 2291525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762" h="2291619">
                  <a:moveTo>
                    <a:pt x="1145762" y="2291620"/>
                  </a:moveTo>
                  <a:lnTo>
                    <a:pt x="1145762" y="0"/>
                  </a:lnTo>
                  <a:cubicBezTo>
                    <a:pt x="513016" y="0"/>
                    <a:pt x="0" y="513112"/>
                    <a:pt x="0" y="1145762"/>
                  </a:cubicBezTo>
                  <a:cubicBezTo>
                    <a:pt x="0" y="1778413"/>
                    <a:pt x="513112" y="2291525"/>
                    <a:pt x="1145762" y="2291525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65723C4-9949-A789-0B35-B727B72E3A78}"/>
                </a:ext>
              </a:extLst>
            </p:cNvPr>
            <p:cNvSpPr/>
            <p:nvPr userDrawn="1"/>
          </p:nvSpPr>
          <p:spPr>
            <a:xfrm>
              <a:off x="19059687" y="2464761"/>
              <a:ext cx="211432" cy="211217"/>
            </a:xfrm>
            <a:custGeom>
              <a:avLst/>
              <a:gdLst>
                <a:gd name="connsiteX0" fmla="*/ 38100 w 187261"/>
                <a:gd name="connsiteY0" fmla="*/ 187071 h 187070"/>
                <a:gd name="connsiteX1" fmla="*/ 93631 w 187261"/>
                <a:gd name="connsiteY1" fmla="*/ 131540 h 187070"/>
                <a:gd name="connsiteX2" fmla="*/ 149257 w 187261"/>
                <a:gd name="connsiteY2" fmla="*/ 187071 h 187070"/>
                <a:gd name="connsiteX3" fmla="*/ 187262 w 187261"/>
                <a:gd name="connsiteY3" fmla="*/ 149162 h 187070"/>
                <a:gd name="connsiteX4" fmla="*/ 131636 w 187261"/>
                <a:gd name="connsiteY4" fmla="*/ 93535 h 187070"/>
                <a:gd name="connsiteX5" fmla="*/ 187262 w 187261"/>
                <a:gd name="connsiteY5" fmla="*/ 37909 h 187070"/>
                <a:gd name="connsiteX6" fmla="*/ 149257 w 187261"/>
                <a:gd name="connsiteY6" fmla="*/ 0 h 187070"/>
                <a:gd name="connsiteX7" fmla="*/ 93631 w 187261"/>
                <a:gd name="connsiteY7" fmla="*/ 55531 h 187070"/>
                <a:gd name="connsiteX8" fmla="*/ 38100 w 187261"/>
                <a:gd name="connsiteY8" fmla="*/ 0 h 187070"/>
                <a:gd name="connsiteX9" fmla="*/ 0 w 187261"/>
                <a:gd name="connsiteY9" fmla="*/ 37909 h 187070"/>
                <a:gd name="connsiteX10" fmla="*/ 55626 w 187261"/>
                <a:gd name="connsiteY10" fmla="*/ 93535 h 187070"/>
                <a:gd name="connsiteX11" fmla="*/ 0 w 187261"/>
                <a:gd name="connsiteY11" fmla="*/ 149162 h 187070"/>
                <a:gd name="connsiteX12" fmla="*/ 38100 w 187261"/>
                <a:gd name="connsiteY12" fmla="*/ 187071 h 187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261" h="187070">
                  <a:moveTo>
                    <a:pt x="38100" y="187071"/>
                  </a:moveTo>
                  <a:lnTo>
                    <a:pt x="93631" y="131540"/>
                  </a:lnTo>
                  <a:lnTo>
                    <a:pt x="149257" y="187071"/>
                  </a:lnTo>
                  <a:lnTo>
                    <a:pt x="187262" y="149162"/>
                  </a:lnTo>
                  <a:lnTo>
                    <a:pt x="131636" y="93535"/>
                  </a:lnTo>
                  <a:lnTo>
                    <a:pt x="187262" y="37909"/>
                  </a:lnTo>
                  <a:lnTo>
                    <a:pt x="149257" y="0"/>
                  </a:lnTo>
                  <a:lnTo>
                    <a:pt x="93631" y="55531"/>
                  </a:lnTo>
                  <a:lnTo>
                    <a:pt x="38100" y="0"/>
                  </a:lnTo>
                  <a:lnTo>
                    <a:pt x="0" y="37909"/>
                  </a:lnTo>
                  <a:lnTo>
                    <a:pt x="55626" y="93535"/>
                  </a:lnTo>
                  <a:lnTo>
                    <a:pt x="0" y="149162"/>
                  </a:lnTo>
                  <a:lnTo>
                    <a:pt x="38100" y="18707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A7F88A4-A960-85A9-3922-B941EE48E198}"/>
                </a:ext>
              </a:extLst>
            </p:cNvPr>
            <p:cNvSpPr/>
            <p:nvPr userDrawn="1"/>
          </p:nvSpPr>
          <p:spPr>
            <a:xfrm>
              <a:off x="20660061" y="2127822"/>
              <a:ext cx="211325" cy="211325"/>
            </a:xfrm>
            <a:custGeom>
              <a:avLst/>
              <a:gdLst>
                <a:gd name="connsiteX0" fmla="*/ 149162 w 187166"/>
                <a:gd name="connsiteY0" fmla="*/ 0 h 187166"/>
                <a:gd name="connsiteX1" fmla="*/ 93536 w 187166"/>
                <a:gd name="connsiteY1" fmla="*/ 55531 h 187166"/>
                <a:gd name="connsiteX2" fmla="*/ 38005 w 187166"/>
                <a:gd name="connsiteY2" fmla="*/ 0 h 187166"/>
                <a:gd name="connsiteX3" fmla="*/ 0 w 187166"/>
                <a:gd name="connsiteY3" fmla="*/ 37909 h 187166"/>
                <a:gd name="connsiteX4" fmla="*/ 55626 w 187166"/>
                <a:gd name="connsiteY4" fmla="*/ 93536 h 187166"/>
                <a:gd name="connsiteX5" fmla="*/ 0 w 187166"/>
                <a:gd name="connsiteY5" fmla="*/ 149161 h 187166"/>
                <a:gd name="connsiteX6" fmla="*/ 38005 w 187166"/>
                <a:gd name="connsiteY6" fmla="*/ 187166 h 187166"/>
                <a:gd name="connsiteX7" fmla="*/ 93536 w 187166"/>
                <a:gd name="connsiteY7" fmla="*/ 131540 h 187166"/>
                <a:gd name="connsiteX8" fmla="*/ 149162 w 187166"/>
                <a:gd name="connsiteY8" fmla="*/ 187166 h 187166"/>
                <a:gd name="connsiteX9" fmla="*/ 187166 w 187166"/>
                <a:gd name="connsiteY9" fmla="*/ 149161 h 187166"/>
                <a:gd name="connsiteX10" fmla="*/ 131540 w 187166"/>
                <a:gd name="connsiteY10" fmla="*/ 93536 h 187166"/>
                <a:gd name="connsiteX11" fmla="*/ 187166 w 187166"/>
                <a:gd name="connsiteY11" fmla="*/ 37909 h 187166"/>
                <a:gd name="connsiteX12" fmla="*/ 149162 w 187166"/>
                <a:gd name="connsiteY12" fmla="*/ 0 h 187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166" h="187166">
                  <a:moveTo>
                    <a:pt x="149162" y="0"/>
                  </a:moveTo>
                  <a:lnTo>
                    <a:pt x="93536" y="55531"/>
                  </a:lnTo>
                  <a:lnTo>
                    <a:pt x="38005" y="0"/>
                  </a:lnTo>
                  <a:lnTo>
                    <a:pt x="0" y="37909"/>
                  </a:lnTo>
                  <a:lnTo>
                    <a:pt x="55626" y="93536"/>
                  </a:lnTo>
                  <a:lnTo>
                    <a:pt x="0" y="149161"/>
                  </a:lnTo>
                  <a:lnTo>
                    <a:pt x="38005" y="187166"/>
                  </a:lnTo>
                  <a:lnTo>
                    <a:pt x="93536" y="131540"/>
                  </a:lnTo>
                  <a:lnTo>
                    <a:pt x="149162" y="187166"/>
                  </a:lnTo>
                  <a:lnTo>
                    <a:pt x="187166" y="149161"/>
                  </a:lnTo>
                  <a:lnTo>
                    <a:pt x="131540" y="93536"/>
                  </a:lnTo>
                  <a:lnTo>
                    <a:pt x="187166" y="37909"/>
                  </a:lnTo>
                  <a:lnTo>
                    <a:pt x="149162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0529A54-DBAB-0013-DE16-8EA9BCE6137E}"/>
                </a:ext>
              </a:extLst>
            </p:cNvPr>
            <p:cNvSpPr/>
            <p:nvPr userDrawn="1"/>
          </p:nvSpPr>
          <p:spPr>
            <a:xfrm>
              <a:off x="18629724" y="939775"/>
              <a:ext cx="2587527" cy="2587312"/>
            </a:xfrm>
            <a:custGeom>
              <a:avLst/>
              <a:gdLst>
                <a:gd name="connsiteX0" fmla="*/ 2237899 w 2291715"/>
                <a:gd name="connsiteY0" fmla="*/ 1145762 h 2291524"/>
                <a:gd name="connsiteX1" fmla="*/ 1145858 w 2291715"/>
                <a:gd name="connsiteY1" fmla="*/ 2237899 h 2291524"/>
                <a:gd name="connsiteX2" fmla="*/ 53721 w 2291715"/>
                <a:gd name="connsiteY2" fmla="*/ 1145762 h 2291524"/>
                <a:gd name="connsiteX3" fmla="*/ 1145858 w 2291715"/>
                <a:gd name="connsiteY3" fmla="*/ 53721 h 2291524"/>
                <a:gd name="connsiteX4" fmla="*/ 1898904 w 2291715"/>
                <a:gd name="connsiteY4" fmla="*/ 354806 h 2291524"/>
                <a:gd name="connsiteX5" fmla="*/ 1673066 w 2291715"/>
                <a:gd name="connsiteY5" fmla="*/ 580644 h 2291524"/>
                <a:gd name="connsiteX6" fmla="*/ 1145858 w 2291715"/>
                <a:gd name="connsiteY6" fmla="*/ 372999 h 2291524"/>
                <a:gd name="connsiteX7" fmla="*/ 372999 w 2291715"/>
                <a:gd name="connsiteY7" fmla="*/ 1145858 h 2291524"/>
                <a:gd name="connsiteX8" fmla="*/ 388715 w 2291715"/>
                <a:gd name="connsiteY8" fmla="*/ 1301496 h 2291524"/>
                <a:gd name="connsiteX9" fmla="*/ 441293 w 2291715"/>
                <a:gd name="connsiteY9" fmla="*/ 1290828 h 2291524"/>
                <a:gd name="connsiteX10" fmla="*/ 426720 w 2291715"/>
                <a:gd name="connsiteY10" fmla="*/ 1145858 h 2291524"/>
                <a:gd name="connsiteX11" fmla="*/ 1145762 w 2291715"/>
                <a:gd name="connsiteY11" fmla="*/ 426720 h 2291524"/>
                <a:gd name="connsiteX12" fmla="*/ 1634966 w 2291715"/>
                <a:gd name="connsiteY12" fmla="*/ 618744 h 2291524"/>
                <a:gd name="connsiteX13" fmla="*/ 1408938 w 2291715"/>
                <a:gd name="connsiteY13" fmla="*/ 844772 h 2291524"/>
                <a:gd name="connsiteX14" fmla="*/ 994601 w 2291715"/>
                <a:gd name="connsiteY14" fmla="*/ 776764 h 2291524"/>
                <a:gd name="connsiteX15" fmla="*/ 922020 w 2291715"/>
                <a:gd name="connsiteY15" fmla="*/ 745998 h 2291524"/>
                <a:gd name="connsiteX16" fmla="*/ 820579 w 2291715"/>
                <a:gd name="connsiteY16" fmla="*/ 847439 h 2291524"/>
                <a:gd name="connsiteX17" fmla="*/ 834295 w 2291715"/>
                <a:gd name="connsiteY17" fmla="*/ 897446 h 2291524"/>
                <a:gd name="connsiteX18" fmla="*/ 745903 w 2291715"/>
                <a:gd name="connsiteY18" fmla="*/ 1145762 h 2291524"/>
                <a:gd name="connsiteX19" fmla="*/ 1145762 w 2291715"/>
                <a:gd name="connsiteY19" fmla="*/ 1545622 h 2291524"/>
                <a:gd name="connsiteX20" fmla="*/ 1545622 w 2291715"/>
                <a:gd name="connsiteY20" fmla="*/ 1145762 h 2291524"/>
                <a:gd name="connsiteX21" fmla="*/ 1491901 w 2291715"/>
                <a:gd name="connsiteY21" fmla="*/ 1145762 h 2291524"/>
                <a:gd name="connsiteX22" fmla="*/ 1145762 w 2291715"/>
                <a:gd name="connsiteY22" fmla="*/ 1491901 h 2291524"/>
                <a:gd name="connsiteX23" fmla="*/ 799624 w 2291715"/>
                <a:gd name="connsiteY23" fmla="*/ 1145762 h 2291524"/>
                <a:gd name="connsiteX24" fmla="*/ 872585 w 2291715"/>
                <a:gd name="connsiteY24" fmla="*/ 935450 h 2291524"/>
                <a:gd name="connsiteX25" fmla="*/ 921925 w 2291715"/>
                <a:gd name="connsiteY25" fmla="*/ 948785 h 2291524"/>
                <a:gd name="connsiteX26" fmla="*/ 1023366 w 2291715"/>
                <a:gd name="connsiteY26" fmla="*/ 847344 h 2291524"/>
                <a:gd name="connsiteX27" fmla="*/ 1020413 w 2291715"/>
                <a:gd name="connsiteY27" fmla="*/ 824008 h 2291524"/>
                <a:gd name="connsiteX28" fmla="*/ 1370838 w 2291715"/>
                <a:gd name="connsiteY28" fmla="*/ 882777 h 2291524"/>
                <a:gd name="connsiteX29" fmla="*/ 1195578 w 2291715"/>
                <a:gd name="connsiteY29" fmla="*/ 1057942 h 2291524"/>
                <a:gd name="connsiteX30" fmla="*/ 1145667 w 2291715"/>
                <a:gd name="connsiteY30" fmla="*/ 1044321 h 2291524"/>
                <a:gd name="connsiteX31" fmla="*/ 1044226 w 2291715"/>
                <a:gd name="connsiteY31" fmla="*/ 1145762 h 2291524"/>
                <a:gd name="connsiteX32" fmla="*/ 1145667 w 2291715"/>
                <a:gd name="connsiteY32" fmla="*/ 1247204 h 2291524"/>
                <a:gd name="connsiteX33" fmla="*/ 1247108 w 2291715"/>
                <a:gd name="connsiteY33" fmla="*/ 1145762 h 2291524"/>
                <a:gd name="connsiteX34" fmla="*/ 1233488 w 2291715"/>
                <a:gd name="connsiteY34" fmla="*/ 1095947 h 2291524"/>
                <a:gd name="connsiteX35" fmla="*/ 2059972 w 2291715"/>
                <a:gd name="connsiteY35" fmla="*/ 269653 h 2291524"/>
                <a:gd name="connsiteX36" fmla="*/ 2021967 w 2291715"/>
                <a:gd name="connsiteY36" fmla="*/ 231743 h 2291524"/>
                <a:gd name="connsiteX37" fmla="*/ 1936909 w 2291715"/>
                <a:gd name="connsiteY37" fmla="*/ 316897 h 2291524"/>
                <a:gd name="connsiteX38" fmla="*/ 1145858 w 2291715"/>
                <a:gd name="connsiteY38" fmla="*/ 0 h 2291524"/>
                <a:gd name="connsiteX39" fmla="*/ 0 w 2291715"/>
                <a:gd name="connsiteY39" fmla="*/ 1145762 h 2291524"/>
                <a:gd name="connsiteX40" fmla="*/ 1145858 w 2291715"/>
                <a:gd name="connsiteY40" fmla="*/ 2291525 h 2291524"/>
                <a:gd name="connsiteX41" fmla="*/ 2291715 w 2291715"/>
                <a:gd name="connsiteY41" fmla="*/ 1145762 h 2291524"/>
                <a:gd name="connsiteX42" fmla="*/ 2237994 w 2291715"/>
                <a:gd name="connsiteY42" fmla="*/ 1145762 h 2291524"/>
                <a:gd name="connsiteX43" fmla="*/ 922020 w 2291715"/>
                <a:gd name="connsiteY43" fmla="*/ 895160 h 2291524"/>
                <a:gd name="connsiteX44" fmla="*/ 874300 w 2291715"/>
                <a:gd name="connsiteY44" fmla="*/ 847439 h 2291524"/>
                <a:gd name="connsiteX45" fmla="*/ 922020 w 2291715"/>
                <a:gd name="connsiteY45" fmla="*/ 799719 h 2291524"/>
                <a:gd name="connsiteX46" fmla="*/ 969740 w 2291715"/>
                <a:gd name="connsiteY46" fmla="*/ 847439 h 2291524"/>
                <a:gd name="connsiteX47" fmla="*/ 922020 w 2291715"/>
                <a:gd name="connsiteY47" fmla="*/ 895160 h 2291524"/>
                <a:gd name="connsiteX48" fmla="*/ 1145858 w 2291715"/>
                <a:gd name="connsiteY48" fmla="*/ 1193578 h 2291524"/>
                <a:gd name="connsiteX49" fmla="*/ 1098137 w 2291715"/>
                <a:gd name="connsiteY49" fmla="*/ 1145858 h 2291524"/>
                <a:gd name="connsiteX50" fmla="*/ 1145858 w 2291715"/>
                <a:gd name="connsiteY50" fmla="*/ 1098137 h 2291524"/>
                <a:gd name="connsiteX51" fmla="*/ 1193578 w 2291715"/>
                <a:gd name="connsiteY51" fmla="*/ 1145858 h 2291524"/>
                <a:gd name="connsiteX52" fmla="*/ 1145858 w 2291715"/>
                <a:gd name="connsiteY52" fmla="*/ 1193578 h 229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291715" h="2291524">
                  <a:moveTo>
                    <a:pt x="2237899" y="1145762"/>
                  </a:moveTo>
                  <a:cubicBezTo>
                    <a:pt x="2237899" y="1747933"/>
                    <a:pt x="1748028" y="2237899"/>
                    <a:pt x="1145858" y="2237899"/>
                  </a:cubicBezTo>
                  <a:cubicBezTo>
                    <a:pt x="543687" y="2237899"/>
                    <a:pt x="53721" y="1748028"/>
                    <a:pt x="53721" y="1145762"/>
                  </a:cubicBezTo>
                  <a:cubicBezTo>
                    <a:pt x="53721" y="543497"/>
                    <a:pt x="543687" y="53721"/>
                    <a:pt x="1145858" y="53721"/>
                  </a:cubicBezTo>
                  <a:cubicBezTo>
                    <a:pt x="1428560" y="53721"/>
                    <a:pt x="1694974" y="160401"/>
                    <a:pt x="1898904" y="354806"/>
                  </a:cubicBezTo>
                  <a:lnTo>
                    <a:pt x="1673066" y="580644"/>
                  </a:lnTo>
                  <a:cubicBezTo>
                    <a:pt x="1529525" y="446532"/>
                    <a:pt x="1343311" y="372999"/>
                    <a:pt x="1145858" y="372999"/>
                  </a:cubicBezTo>
                  <a:cubicBezTo>
                    <a:pt x="719709" y="372999"/>
                    <a:pt x="372999" y="719709"/>
                    <a:pt x="372999" y="1145858"/>
                  </a:cubicBezTo>
                  <a:cubicBezTo>
                    <a:pt x="372999" y="1198150"/>
                    <a:pt x="378333" y="1250537"/>
                    <a:pt x="388715" y="1301496"/>
                  </a:cubicBezTo>
                  <a:lnTo>
                    <a:pt x="441293" y="1290828"/>
                  </a:lnTo>
                  <a:cubicBezTo>
                    <a:pt x="431578" y="1243298"/>
                    <a:pt x="426720" y="1194530"/>
                    <a:pt x="426720" y="1145858"/>
                  </a:cubicBezTo>
                  <a:cubicBezTo>
                    <a:pt x="426720" y="749332"/>
                    <a:pt x="749332" y="426720"/>
                    <a:pt x="1145762" y="426720"/>
                  </a:cubicBezTo>
                  <a:cubicBezTo>
                    <a:pt x="1328928" y="426720"/>
                    <a:pt x="1501616" y="494729"/>
                    <a:pt x="1634966" y="618744"/>
                  </a:cubicBezTo>
                  <a:lnTo>
                    <a:pt x="1408938" y="844772"/>
                  </a:lnTo>
                  <a:cubicBezTo>
                    <a:pt x="1296734" y="746474"/>
                    <a:pt x="1132332" y="720757"/>
                    <a:pt x="994601" y="776764"/>
                  </a:cubicBezTo>
                  <a:cubicBezTo>
                    <a:pt x="976122" y="757809"/>
                    <a:pt x="950500" y="745998"/>
                    <a:pt x="922020" y="745998"/>
                  </a:cubicBezTo>
                  <a:cubicBezTo>
                    <a:pt x="866108" y="745998"/>
                    <a:pt x="820579" y="791528"/>
                    <a:pt x="820579" y="847439"/>
                  </a:cubicBezTo>
                  <a:cubicBezTo>
                    <a:pt x="820579" y="865727"/>
                    <a:pt x="825818" y="882682"/>
                    <a:pt x="834295" y="897446"/>
                  </a:cubicBezTo>
                  <a:cubicBezTo>
                    <a:pt x="777907" y="968121"/>
                    <a:pt x="745903" y="1054989"/>
                    <a:pt x="745903" y="1145762"/>
                  </a:cubicBezTo>
                  <a:cubicBezTo>
                    <a:pt x="745903" y="1366266"/>
                    <a:pt x="925354" y="1545622"/>
                    <a:pt x="1145762" y="1545622"/>
                  </a:cubicBezTo>
                  <a:cubicBezTo>
                    <a:pt x="1366171" y="1545622"/>
                    <a:pt x="1545622" y="1366266"/>
                    <a:pt x="1545622" y="1145762"/>
                  </a:cubicBezTo>
                  <a:lnTo>
                    <a:pt x="1491901" y="1145762"/>
                  </a:lnTo>
                  <a:cubicBezTo>
                    <a:pt x="1491901" y="1336643"/>
                    <a:pt x="1336643" y="1491901"/>
                    <a:pt x="1145762" y="1491901"/>
                  </a:cubicBezTo>
                  <a:cubicBezTo>
                    <a:pt x="954881" y="1491901"/>
                    <a:pt x="799624" y="1336643"/>
                    <a:pt x="799624" y="1145762"/>
                  </a:cubicBezTo>
                  <a:cubicBezTo>
                    <a:pt x="799624" y="1069086"/>
                    <a:pt x="826103" y="995839"/>
                    <a:pt x="872585" y="935450"/>
                  </a:cubicBezTo>
                  <a:cubicBezTo>
                    <a:pt x="887254" y="943737"/>
                    <a:pt x="903923" y="948785"/>
                    <a:pt x="921925" y="948785"/>
                  </a:cubicBezTo>
                  <a:cubicBezTo>
                    <a:pt x="977837" y="948785"/>
                    <a:pt x="1023366" y="903256"/>
                    <a:pt x="1023366" y="847344"/>
                  </a:cubicBezTo>
                  <a:cubicBezTo>
                    <a:pt x="1023366" y="839248"/>
                    <a:pt x="1022223" y="831533"/>
                    <a:pt x="1020413" y="824008"/>
                  </a:cubicBezTo>
                  <a:cubicBezTo>
                    <a:pt x="1137190" y="778859"/>
                    <a:pt x="1275302" y="800767"/>
                    <a:pt x="1370838" y="882777"/>
                  </a:cubicBezTo>
                  <a:lnTo>
                    <a:pt x="1195578" y="1057942"/>
                  </a:lnTo>
                  <a:cubicBezTo>
                    <a:pt x="1180814" y="1049465"/>
                    <a:pt x="1163860" y="1044321"/>
                    <a:pt x="1145667" y="1044321"/>
                  </a:cubicBezTo>
                  <a:cubicBezTo>
                    <a:pt x="1089755" y="1044321"/>
                    <a:pt x="1044226" y="1089851"/>
                    <a:pt x="1044226" y="1145762"/>
                  </a:cubicBezTo>
                  <a:cubicBezTo>
                    <a:pt x="1044226" y="1201674"/>
                    <a:pt x="1089755" y="1247204"/>
                    <a:pt x="1145667" y="1247204"/>
                  </a:cubicBezTo>
                  <a:cubicBezTo>
                    <a:pt x="1201579" y="1247204"/>
                    <a:pt x="1247108" y="1201674"/>
                    <a:pt x="1247108" y="1145762"/>
                  </a:cubicBezTo>
                  <a:cubicBezTo>
                    <a:pt x="1247108" y="1127570"/>
                    <a:pt x="1241965" y="1110710"/>
                    <a:pt x="1233488" y="1095947"/>
                  </a:cubicBezTo>
                  <a:lnTo>
                    <a:pt x="2059972" y="269653"/>
                  </a:lnTo>
                  <a:lnTo>
                    <a:pt x="2021967" y="231743"/>
                  </a:lnTo>
                  <a:lnTo>
                    <a:pt x="1936909" y="316897"/>
                  </a:lnTo>
                  <a:cubicBezTo>
                    <a:pt x="1722787" y="112300"/>
                    <a:pt x="1442942" y="0"/>
                    <a:pt x="1145858" y="0"/>
                  </a:cubicBezTo>
                  <a:cubicBezTo>
                    <a:pt x="514064" y="0"/>
                    <a:pt x="0" y="513969"/>
                    <a:pt x="0" y="1145762"/>
                  </a:cubicBezTo>
                  <a:cubicBezTo>
                    <a:pt x="0" y="1777556"/>
                    <a:pt x="514064" y="2291525"/>
                    <a:pt x="1145858" y="2291525"/>
                  </a:cubicBezTo>
                  <a:cubicBezTo>
                    <a:pt x="1777651" y="2291525"/>
                    <a:pt x="2291715" y="1777556"/>
                    <a:pt x="2291715" y="1145762"/>
                  </a:cubicBezTo>
                  <a:lnTo>
                    <a:pt x="2237994" y="1145762"/>
                  </a:lnTo>
                  <a:close/>
                  <a:moveTo>
                    <a:pt x="922020" y="895160"/>
                  </a:moveTo>
                  <a:cubicBezTo>
                    <a:pt x="895731" y="895160"/>
                    <a:pt x="874300" y="873728"/>
                    <a:pt x="874300" y="847439"/>
                  </a:cubicBezTo>
                  <a:cubicBezTo>
                    <a:pt x="874300" y="821150"/>
                    <a:pt x="895731" y="799719"/>
                    <a:pt x="922020" y="799719"/>
                  </a:cubicBezTo>
                  <a:cubicBezTo>
                    <a:pt x="948309" y="799719"/>
                    <a:pt x="969740" y="821150"/>
                    <a:pt x="969740" y="847439"/>
                  </a:cubicBezTo>
                  <a:cubicBezTo>
                    <a:pt x="969740" y="873728"/>
                    <a:pt x="948309" y="895160"/>
                    <a:pt x="922020" y="895160"/>
                  </a:cubicBezTo>
                  <a:close/>
                  <a:moveTo>
                    <a:pt x="1145858" y="1193578"/>
                  </a:moveTo>
                  <a:cubicBezTo>
                    <a:pt x="1119569" y="1193578"/>
                    <a:pt x="1098137" y="1172147"/>
                    <a:pt x="1098137" y="1145858"/>
                  </a:cubicBezTo>
                  <a:cubicBezTo>
                    <a:pt x="1098137" y="1119569"/>
                    <a:pt x="1119569" y="1098137"/>
                    <a:pt x="1145858" y="1098137"/>
                  </a:cubicBezTo>
                  <a:cubicBezTo>
                    <a:pt x="1172147" y="1098137"/>
                    <a:pt x="1193578" y="1119569"/>
                    <a:pt x="1193578" y="1145858"/>
                  </a:cubicBezTo>
                  <a:cubicBezTo>
                    <a:pt x="1193578" y="1172147"/>
                    <a:pt x="1172147" y="1193578"/>
                    <a:pt x="1145858" y="119357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6BB473-166A-42B3-8194-00FCC7D6B498}"/>
                </a:ext>
              </a:extLst>
            </p:cNvPr>
            <p:cNvSpPr/>
            <p:nvPr userDrawn="1"/>
          </p:nvSpPr>
          <p:spPr>
            <a:xfrm>
              <a:off x="19225414" y="2395931"/>
              <a:ext cx="1553268" cy="710226"/>
            </a:xfrm>
            <a:custGeom>
              <a:avLst/>
              <a:gdLst>
                <a:gd name="connsiteX0" fmla="*/ 618268 w 1375695"/>
                <a:gd name="connsiteY0" fmla="*/ 628936 h 629031"/>
                <a:gd name="connsiteX1" fmla="*/ 1375696 w 1375695"/>
                <a:gd name="connsiteY1" fmla="*/ 10668 h 629031"/>
                <a:gd name="connsiteX2" fmla="*/ 1323118 w 1375695"/>
                <a:gd name="connsiteY2" fmla="*/ 0 h 629031"/>
                <a:gd name="connsiteX3" fmla="*/ 618268 w 1375695"/>
                <a:gd name="connsiteY3" fmla="*/ 575310 h 629031"/>
                <a:gd name="connsiteX4" fmla="*/ 42958 w 1375695"/>
                <a:gd name="connsiteY4" fmla="*/ 287655 h 629031"/>
                <a:gd name="connsiteX5" fmla="*/ 0 w 1375695"/>
                <a:gd name="connsiteY5" fmla="*/ 319945 h 629031"/>
                <a:gd name="connsiteX6" fmla="*/ 618268 w 1375695"/>
                <a:gd name="connsiteY6" fmla="*/ 629031 h 62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5695" h="629031">
                  <a:moveTo>
                    <a:pt x="618268" y="628936"/>
                  </a:moveTo>
                  <a:cubicBezTo>
                    <a:pt x="984409" y="628936"/>
                    <a:pt x="1302925" y="368903"/>
                    <a:pt x="1375696" y="10668"/>
                  </a:cubicBezTo>
                  <a:lnTo>
                    <a:pt x="1323118" y="0"/>
                  </a:lnTo>
                  <a:cubicBezTo>
                    <a:pt x="1255395" y="333375"/>
                    <a:pt x="958977" y="575310"/>
                    <a:pt x="618268" y="575310"/>
                  </a:cubicBezTo>
                  <a:cubicBezTo>
                    <a:pt x="389954" y="575310"/>
                    <a:pt x="180213" y="470440"/>
                    <a:pt x="42958" y="287655"/>
                  </a:cubicBezTo>
                  <a:lnTo>
                    <a:pt x="0" y="319945"/>
                  </a:lnTo>
                  <a:cubicBezTo>
                    <a:pt x="147542" y="516350"/>
                    <a:pt x="372904" y="629031"/>
                    <a:pt x="618268" y="62903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08B538A9-9697-FB61-BACA-1B2A24BE21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44864" y="3527195"/>
              <a:ext cx="2587527" cy="2587527"/>
            </a:xfrm>
            <a:prstGeom prst="rect">
              <a:avLst/>
            </a:prstGeom>
          </p:spPr>
        </p:pic>
      </p:grp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FA6A4E4-9CC1-7010-E902-B213741D09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8719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4" y="191938"/>
            <a:ext cx="5533226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1714500"/>
            <a:ext cx="548569" cy="4283869"/>
          </a:xfrm>
        </p:spPr>
        <p:txBody>
          <a:bodyPr/>
          <a:lstStyle>
            <a:lvl1pPr defTabSz="580528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6143" y="1714500"/>
            <a:ext cx="4774589" cy="4283869"/>
          </a:xfrm>
        </p:spPr>
        <p:txBody>
          <a:bodyPr/>
          <a:lstStyle>
            <a:lvl1pPr defTabSz="580528">
              <a:spcBef>
                <a:spcPts val="0"/>
              </a:spcBef>
              <a:spcAft>
                <a:spcPts val="900"/>
              </a:spcAft>
              <a:defRPr sz="3199"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43B4043-0F2A-71C6-31DB-7C981D1C19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2540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1" y="191937"/>
            <a:ext cx="5546867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4EB72A9C-9B01-E367-54B6-234C54421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922" y="1714501"/>
            <a:ext cx="5533775" cy="428386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DECF69D-F8A2-BA29-C92F-56CF66F1D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5" y="1714501"/>
            <a:ext cx="5531953" cy="428386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04A6F85-6D8A-FD77-39BD-252A2FB61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5487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6" y="160295"/>
            <a:ext cx="8569797" cy="4095750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15E15240-CB4B-3EBC-59A0-A3009A5392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4331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008" y="2570957"/>
            <a:ext cx="5520318" cy="34274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175240-12A7-12D7-DC4F-B715F7430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5C9BB08-694B-5D15-5524-4AF48C832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000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66645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AD5B3F4-41FA-5B40-DA62-5B54E0897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2624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4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9C054CF-9453-850A-6B65-8421B46079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5637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429901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FFF437B-D167-4852-CD55-FDFC9AB2E9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0711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4" cy="1285171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93683E6-4962-57E0-9658-36D986D693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9807" y="1999457"/>
            <a:ext cx="4946006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22783DF-B709-0768-BAFA-FEDE312037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7775" y="1999457"/>
            <a:ext cx="4942038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A62BE5F-1F51-450E-D8FE-040CFAFD9A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795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214530"/>
      </p:ext>
    </p:extLst>
  </p:cSld>
  <p:clrMapOvr>
    <a:masterClrMapping/>
  </p:clrMapOvr>
  <p:transition spd="med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627" y="1226287"/>
            <a:ext cx="9145985" cy="3088538"/>
          </a:xfrm>
        </p:spPr>
        <p:txBody>
          <a:bodyPr wrap="square" anchor="b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2296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05" y="4237792"/>
            <a:ext cx="9143206" cy="1354217"/>
          </a:xfrm>
        </p:spPr>
        <p:txBody>
          <a:bodyPr wrap="square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759DCE3-F7D4-4DD5-12DC-26287105A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5998369"/>
            <a:ext cx="2475384" cy="594249"/>
          </a:xfrm>
        </p:spPr>
        <p:txBody>
          <a:bodyPr anchor="b">
            <a:noAutofit/>
          </a:bodyPr>
          <a:lstStyle>
            <a:lvl1pPr algn="l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F32310DD-37C8-4053-C9FB-4595BDA354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7535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014" y="288925"/>
            <a:ext cx="8687464" cy="3088538"/>
          </a:xfrm>
        </p:spPr>
        <p:txBody>
          <a:bodyPr wrap="square" anchor="t">
            <a:spAutoFit/>
          </a:bodyPr>
          <a:lstStyle>
            <a:lvl1pPr marL="0" marR="0" indent="0" algn="l" defTabSz="121895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2296" b="0" i="0" u="none" strike="noStrike" cap="none" spc="0" baseline="0" dirty="0">
                <a:solidFill>
                  <a:schemeClr val="accent1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831" y="3470609"/>
            <a:ext cx="5514869" cy="135421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94B6EDC-B303-90FD-527D-B63F2FB20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3831" y="571261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5850FE5-BCBA-DE93-BED8-F673B3DE7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5704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32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3248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31669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31669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174D841-F2E5-EFB2-5B7C-4BF603920F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593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2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29" y="196038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48538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47745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D9A9B55-BFC0-A207-C833-97029A85A6B1}"/>
              </a:ext>
            </a:extLst>
          </p:cNvPr>
          <p:cNvCxnSpPr/>
          <p:nvPr userDrawn="1"/>
        </p:nvCxnSpPr>
        <p:spPr bwMode="auto">
          <a:xfrm>
            <a:off x="304760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876AAE83-5BC1-2B8F-9D74-FFCF44A99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1690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2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29" y="196038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48538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47745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D17A823-2B35-9F67-4977-560B8AF64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4183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53" y="163677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02005" y="163677"/>
            <a:ext cx="8602695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253" y="330113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02005" y="3301130"/>
            <a:ext cx="8602695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CEC7706-69F2-D92D-BB0A-0E924C894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E53AD30-014A-7A4A-CB78-34E988BBC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9799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3214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31669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34383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29883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2523" y="2081450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2523" y="4189142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38711FA-13D6-9104-7A8A-D8FB49141F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3452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0"/>
            <a:ext cx="5049180" cy="337263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571750"/>
            <a:ext cx="5047593" cy="337263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5EC4A52-7835-D22D-8B95-DC00FB768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4" cy="1285171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868EE6-6B0C-277D-E71F-ED7D51D306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3024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s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429000"/>
            <a:ext cx="5049180" cy="25693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3429000"/>
            <a:ext cx="5047593" cy="25693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79CF79E9-58BB-513E-43E9-E0BEE12B458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47802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22459F1-A8D7-D6F0-9077-040A2C233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4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FA3EE5FA-E03D-2868-F43C-AED3641C30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47802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A670BDF-CD12-E7E2-0D14-69CE028ED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6437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8" y="2571751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8" y="2571751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8" y="2571751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79092D4-BF8A-268D-DBA5-27434837ECD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571751"/>
            <a:ext cx="0" cy="256161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9" y="2573081"/>
            <a:ext cx="0" cy="257041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458299-F48C-A427-FFF4-B96192C603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9057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034329"/>
      </p:ext>
    </p:extLst>
  </p:cSld>
  <p:clrMapOvr>
    <a:masterClrMapping/>
  </p:clrMapOvr>
  <p:transition spd="med"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114846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8" y="3391046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8" y="3391046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8" y="3391046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3D239E8C-BDAD-3BA7-69BA-6E9D9922A76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52358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F2607C-C2D8-FFBC-278F-61D7DB611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416718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646E100-F22C-3F1E-673A-CE8E02105E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7998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8176892-FFF9-AD2F-96B8-DCCD56B20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6550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114846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8" y="2824719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8" y="2824719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8" y="2824719"/>
            <a:ext cx="3487982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0490D2-C450-EA05-A628-8CDD83FB950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824719"/>
            <a:ext cx="0" cy="316277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D95C4A-640F-44BD-E7DB-7952B40B47E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9" y="2824719"/>
            <a:ext cx="0" cy="31736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080BDB-2578-19DC-62DC-21A64E466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3330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middl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2493638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54298" y="2571750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1378" y="2571750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48459" y="2571750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C66A411-C374-F3F3-B9CB-8D8D477D2E17}"/>
              </a:ext>
            </a:extLst>
          </p:cNvPr>
          <p:cNvGrpSpPr/>
          <p:nvPr userDrawn="1"/>
        </p:nvGrpSpPr>
        <p:grpSpPr>
          <a:xfrm>
            <a:off x="6093683" y="288925"/>
            <a:ext cx="3049127" cy="5709444"/>
            <a:chOff x="12188952" y="592079"/>
            <a:chExt cx="6099048" cy="514349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594739"/>
              <a:ext cx="0" cy="5140838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592079"/>
              <a:ext cx="0" cy="5121374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D0F0F89-7318-2CE8-B2F0-DDA405BDB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00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2493638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488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5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6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7AA5A9F-1FF4-B8F4-1347-735214DFF06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55186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DE1C342-B84B-FDDF-9C31-E2203F3C7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3188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2493638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8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488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5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6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2"/>
            <a:ext cx="2476177" cy="304723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08C075F-C93C-07FC-A0F1-23C5342F3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1302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888" y="2675700"/>
            <a:ext cx="3334903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1808" y="2674938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887" y="5147889"/>
            <a:ext cx="3334904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1809" y="5146365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887" y="172472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1808" y="172472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887" y="419234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1808" y="419386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6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857625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2EBAB1D-E41A-FCE6-D13F-87955CDFE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11620573" cy="129054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7895912-82BE-A180-A2EE-6DED0F5F5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9405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,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392940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391416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43739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43891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9D960E5-FC34-1896-E12A-39C4324B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780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6BF4ADBE-C76F-07CC-C4CC-D239D2827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CD69A79-BC15-190C-75BA-2D47B6CE6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3281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2BAB8C9-7E2A-46DD-2399-A214C4EDF57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2FD89A00-A4D6-01CC-82BF-001A1713F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D0D49E6-7CA5-18FC-9FD9-9EDA2C4F4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0381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0" y="732209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79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FDB2FE0-AFF0-BFA9-D6AF-6EE97A0FE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97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966654"/>
      </p:ext>
    </p:extLst>
  </p:cSld>
  <p:clrMapOvr>
    <a:masterClrMapping/>
  </p:clrMapOvr>
  <p:transition spd="med"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0" y="732209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47379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90117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79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D5B5BDD-5197-7883-EE7F-D7F36FB380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7663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71339B-1289-A98F-A8E9-18E75F20CC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9381E76D-106C-BA22-3DB6-BDB470E423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0537F81-8B08-E380-9886-248A3F5A38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7F24CA7C-9A8A-3826-A6D8-832F13B51C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4EA17C1-7C6A-EADF-3AE7-5FB11928A9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0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0A6016D-5972-8DF4-5161-9603737C24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6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02BE911-8CA1-63D9-87E1-79F338003B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0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CD010D72-78B3-A919-7182-D247E192AE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F912CB5-9AEA-5E2A-695E-22242ABFD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0EFC0-23D9-0677-68B9-049DAD024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7592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911862E-A2C3-ECD7-75E8-8FEE3975B7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68FBA42A-6CC5-2CB9-C4CD-8740B49D27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BA3EB2-38CB-AEA9-4C56-94D1BED179E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AE91AB7D-3FEE-8981-240A-6212AAB5EC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7DB3F66-3532-DCE9-CCEA-0147232859A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0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8136C62A-4C1D-2114-2E09-44619F4D66C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6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BDADD72-EBAA-EA47-0009-F65A6B65327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0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B1A2F75F-9FE1-576E-054E-377235CA92F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F411D71-CE56-FDDB-5D7A-0B4FCB60E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F4021BC-B93D-E7C5-8CD9-867115C763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252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9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2" y="244007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AD2A69D-35AD-8E1B-0055-B0347A82F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8791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530358"/>
            <a:ext cx="2474590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530358"/>
            <a:ext cx="2474590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530358"/>
            <a:ext cx="2474590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530358"/>
            <a:ext cx="2474590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257938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57938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9" y="257938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2" y="2579382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0"/>
            <a:ext cx="6095206" cy="3423090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11AF24D8-8C1C-AC4D-FDF1-A8E4A6089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0703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775696"/>
            <a:ext cx="2474590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775696"/>
            <a:ext cx="2474590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775696"/>
            <a:ext cx="2474590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775696"/>
            <a:ext cx="2474590" cy="222267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282472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82472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9" y="282472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2" y="282472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824719"/>
            <a:ext cx="6095206" cy="3170121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67972C7-64C8-D5D5-2649-7E5F519CF3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4354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lumns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1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2571751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2571751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2571751"/>
            <a:ext cx="2474590" cy="2571750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1"/>
            <a:ext cx="6095206" cy="2571749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D56867-D9F9-62A0-FDB4-E4779C462D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4041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4024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144833"/>
            <a:ext cx="0" cy="285000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143358"/>
            <a:ext cx="0" cy="283921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6C01522-DE85-D621-1A24-68D327BD5D3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AE5020-4074-8876-8683-891205A358C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8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6350AB9-B76B-2829-7B40-4FD74E8B6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5374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0"/>
            <a:ext cx="0" cy="255572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7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429000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B74D7F9F-BB15-3385-5E6C-4CE8DD6A0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FA762C-F9AF-4EF8-280A-565699475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4223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8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6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49" y="24510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54FD6A5-B609-A859-DE01-D0AB39948E1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3986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58F0260-951E-161B-8456-A4302710F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5644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84532"/>
      </p:ext>
    </p:extLst>
  </p:cSld>
  <p:clrMapOvr>
    <a:masterClrMapping/>
  </p:clrMapOvr>
  <p:transition spd="med"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49" y="245102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2"/>
            <a:ext cx="2474590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0"/>
            <a:ext cx="0" cy="255572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7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8FBD17-65B3-D61E-4BFF-911D4D8DED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3429000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62A38210-751E-ABDD-BE11-802CF10EB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1061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CA50B6-671E-953F-D715-5F31CF9D8E8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8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71A181-117D-E38D-D96B-5F09AE6C2D8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8"/>
            <a:ext cx="0" cy="283986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D7569E8-33F0-2927-457E-FFB6E90A49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6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8D2F3D-0843-CCA0-431C-15C29EDEB95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8CA66-514D-2E7F-1BD4-92DF3C0CAC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7" cy="162637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EA1519-7C3A-C0B5-EC85-1F164DCBB1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7" cy="162637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BE2A62D-EE41-8456-8F8E-593D0972F7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0"/>
            <a:ext cx="2476177" cy="162637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6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E91CAE2-40F2-60D7-69AC-2C6398FA41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0"/>
            <a:ext cx="2476177" cy="162637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C07212A-8B97-6593-5714-26AB990D75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0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C0BC29DE-57B9-0A75-BFEA-0C952625F4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0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233F6872-B424-BD61-A41F-831F1D82DA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4230AF7-3A67-D259-C8A5-048B4C99BCB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5E93364-38AF-969E-6B64-185F78D95C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534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10" y="288925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0"/>
            <a:ext cx="0" cy="255572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7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6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6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4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781215D9-34B4-1F5A-0399-298CBDF4B6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1C79233-D105-4FF6-25BB-315818AE71C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D2A4AF67-AB66-94A8-89EE-8BF6C3098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92FCE89-12F9-7035-F272-8BB205D9FC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7" y="1239012"/>
            <a:ext cx="2476177" cy="162637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C1F736C-7EB3-13DE-8823-F8841C6854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5" y="1239012"/>
            <a:ext cx="2476177" cy="162637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166BF4A-D88E-D58D-4040-26C37F5FA3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7" y="4343930"/>
            <a:ext cx="2476177" cy="162637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305D0A6-0FE2-CEAF-A8B7-47FFE11C02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5" y="4343930"/>
            <a:ext cx="2476177" cy="162637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14A5EFB-64AB-5848-667E-F3D05D9C834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0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CA52D6E-E63B-87DB-A7A3-1B72A54C7E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0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724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righ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7501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53D1387-1AEB-51D7-32CA-2489D148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5524575" cy="580008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8C492E8-5CB5-C92B-6CD6-CCDEF8E48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5917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lef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84125" y="28336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4EF684-B51F-B632-828D-3BB519723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95" y="198287"/>
            <a:ext cx="5524575" cy="580008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04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7" y="2049999"/>
            <a:ext cx="5523781" cy="3948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173B9F7-2E22-2E34-07D9-72BDB8C0D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09735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7" y="2049999"/>
            <a:ext cx="5523781" cy="3948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2BEBD3A-FD57-328F-D077-9C1473E69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315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7" y="1714500"/>
            <a:ext cx="5523781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47FBC7-360F-2702-981E-C16694B31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6103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1714500"/>
            <a:ext cx="2474590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CB70A75-1208-361D-E0D0-FE0258712A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1714500"/>
            <a:ext cx="2474590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5E00C45-1EE0-DD75-8559-149730229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1729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11D002-59D0-4C77-B98C-16790A8D0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2466BD5-32E9-58C2-F347-B997CDC9CD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2474590" cy="3948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71407-3C73-F448-3289-4677C96FF4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2049999"/>
            <a:ext cx="2474590" cy="3948370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9121D0-84A4-C276-51D6-B82635070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925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801325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5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15793"/>
      </p:ext>
    </p:extLst>
  </p:cSld>
  <p:clrMapOvr>
    <a:masterClrMapping/>
  </p:clrMapOvr>
  <p:transition spd="med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s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F1062D6-5670-E376-5181-FACE84388D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1670659"/>
            <a:ext cx="2477765" cy="432771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A89EF34-F2E4-1534-281A-F12601CCE8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1804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670659"/>
            <a:ext cx="2477765" cy="432771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3AA7FF-0113-F5C1-9CF1-3E28A9EDE5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3785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86EB8B-4F70-72DC-4A10-ADEC0AD0B7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838200"/>
            <a:ext cx="2477765" cy="51601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FC889-BCBA-9820-7C00-9CAFC3CDC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500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838200"/>
            <a:ext cx="2477765" cy="51601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FD01A40-3A7E-CCA0-FBA4-E986F12F1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5665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300" y="1714500"/>
            <a:ext cx="11617400" cy="4857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165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6095206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0"/>
            <a:ext cx="6095206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25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6095206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0"/>
            <a:ext cx="6095206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5FAAEB1-AD67-488F-2517-86CE845CF1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7999" y="1212112"/>
            <a:ext cx="552070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C7BD80C-5F12-B9E7-5E65-ACB7DFAC73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030" y="1212112"/>
            <a:ext cx="552070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20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2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1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8421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2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1" y="1714500"/>
            <a:ext cx="4063999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AF9F0B2-E79B-2280-4DAE-E1C97D65A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348473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9B21D27-BCEE-C074-614C-F99B502BD5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5270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FF59F3-4E78-4974-C05E-2C2C59B1D5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23237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3CAF370-33EE-D67D-E96F-733E956E2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73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7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1451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7832"/>
      </p:ext>
    </p:extLst>
  </p:cSld>
  <p:clrMapOvr>
    <a:masterClrMapping/>
  </p:clrMapOvr>
  <p:transition spd="med"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7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0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F168869-82BA-2297-7E72-FE2F22677B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7999" y="1212112"/>
            <a:ext cx="247389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E7519B3-44AE-7C8E-AE29-6E9908A86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2E62052-683C-471D-3996-B3F66EC771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5253" y="1212112"/>
            <a:ext cx="247389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CDD7D6-2616-D68F-1F6D-551050ED93D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83206" y="1212112"/>
            <a:ext cx="247389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CA27042-6765-7A94-2E7D-BA41F8D1D7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6841" y="1212112"/>
            <a:ext cx="247389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651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116" y="450"/>
            <a:ext cx="6092693" cy="30579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B9CB0EE-399D-E7B8-85E6-488055A857C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4" y="3058437"/>
            <a:ext cx="3038393" cy="304029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06E546E-2AFE-C74E-3532-5D6612A3AD8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10647" y="3058437"/>
            <a:ext cx="6080559" cy="304029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8"/>
            <a:ext cx="2492939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5036" y="3429000"/>
            <a:ext cx="2479762" cy="25693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678E61A-FAE0-02C2-9E52-B553A1B787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28522" y="247895"/>
            <a:ext cx="2479762" cy="25693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63D1EFE-4D07-775A-BAD0-C2C3361DC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8523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904466-2B5F-6EA8-820B-F755AB4A7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0" cy="582871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9A7587F-6D7B-BAB0-F192-BC642D3467EC}"/>
              </a:ext>
            </a:extLst>
          </p:cNvPr>
          <p:cNvGrpSpPr/>
          <p:nvPr userDrawn="1"/>
        </p:nvGrpSpPr>
        <p:grpSpPr>
          <a:xfrm>
            <a:off x="6380919" y="888579"/>
            <a:ext cx="5534487" cy="5080843"/>
            <a:chOff x="14598826" y="3810064"/>
            <a:chExt cx="7999302" cy="7342668"/>
          </a:xfrm>
        </p:grpSpPr>
        <p:sp>
          <p:nvSpPr>
            <p:cNvPr id="6" name="Graphic 10">
              <a:extLst>
                <a:ext uri="{FF2B5EF4-FFF2-40B4-BE49-F238E27FC236}">
                  <a16:creationId xmlns:a16="http://schemas.microsoft.com/office/drawing/2014/main" id="{A0698D66-5EF7-21B4-8CF1-23BA7E356F60}"/>
                </a:ext>
              </a:extLst>
            </p:cNvPr>
            <p:cNvSpPr/>
            <p:nvPr/>
          </p:nvSpPr>
          <p:spPr>
            <a:xfrm rot="16200000">
              <a:off x="19736094" y="740186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7" name="Graphic 10">
              <a:extLst>
                <a:ext uri="{FF2B5EF4-FFF2-40B4-BE49-F238E27FC236}">
                  <a16:creationId xmlns:a16="http://schemas.microsoft.com/office/drawing/2014/main" id="{79B7D8A0-6A61-AABD-38B0-A377886B73B3}"/>
                </a:ext>
              </a:extLst>
            </p:cNvPr>
            <p:cNvSpPr/>
            <p:nvPr/>
          </p:nvSpPr>
          <p:spPr>
            <a:xfrm rot="5400000">
              <a:off x="19736094" y="826389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8" name="Graphic 15">
              <a:extLst>
                <a:ext uri="{FF2B5EF4-FFF2-40B4-BE49-F238E27FC236}">
                  <a16:creationId xmlns:a16="http://schemas.microsoft.com/office/drawing/2014/main" id="{49ED3B2D-C0F5-50AF-9CDF-E59C9FCE830F}"/>
                </a:ext>
              </a:extLst>
            </p:cNvPr>
            <p:cNvSpPr/>
            <p:nvPr/>
          </p:nvSpPr>
          <p:spPr>
            <a:xfrm>
              <a:off x="21035934" y="9556940"/>
              <a:ext cx="1562194" cy="1562194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E4373C9-ADEF-477B-7D5A-D14C92A7F543}"/>
                </a:ext>
              </a:extLst>
            </p:cNvPr>
            <p:cNvSpPr/>
            <p:nvPr/>
          </p:nvSpPr>
          <p:spPr bwMode="auto">
            <a:xfrm>
              <a:off x="16137165" y="7963567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751D607-04D5-A7AA-B2CF-759C9197F1AD}"/>
                </a:ext>
              </a:extLst>
            </p:cNvPr>
            <p:cNvSpPr/>
            <p:nvPr/>
          </p:nvSpPr>
          <p:spPr>
            <a:xfrm>
              <a:off x="21005659" y="6270686"/>
              <a:ext cx="1562242" cy="1562194"/>
            </a:xfrm>
            <a:custGeom>
              <a:avLst/>
              <a:gdLst>
                <a:gd name="connsiteX0" fmla="*/ 190102 w 356387"/>
                <a:gd name="connsiteY0" fmla="*/ 321574 h 356376"/>
                <a:gd name="connsiteX1" fmla="*/ 185949 w 356387"/>
                <a:gd name="connsiteY1" fmla="*/ 317769 h 356376"/>
                <a:gd name="connsiteX2" fmla="*/ 165288 w 356387"/>
                <a:gd name="connsiteY2" fmla="*/ 295518 h 356376"/>
                <a:gd name="connsiteX3" fmla="*/ 139082 w 356387"/>
                <a:gd name="connsiteY3" fmla="*/ 313175 h 356376"/>
                <a:gd name="connsiteX4" fmla="*/ 133281 w 356387"/>
                <a:gd name="connsiteY4" fmla="*/ 314312 h 356376"/>
                <a:gd name="connsiteX5" fmla="*/ 132156 w 356387"/>
                <a:gd name="connsiteY5" fmla="*/ 308511 h 356376"/>
                <a:gd name="connsiteX6" fmla="*/ 165276 w 356387"/>
                <a:gd name="connsiteY6" fmla="*/ 287154 h 356376"/>
                <a:gd name="connsiteX7" fmla="*/ 194255 w 356387"/>
                <a:gd name="connsiteY7" fmla="*/ 317015 h 356376"/>
                <a:gd name="connsiteX8" fmla="*/ 190473 w 356387"/>
                <a:gd name="connsiteY8" fmla="*/ 321550 h 356376"/>
                <a:gd name="connsiteX9" fmla="*/ 190102 w 356387"/>
                <a:gd name="connsiteY9" fmla="*/ 321574 h 356376"/>
                <a:gd name="connsiteX10" fmla="*/ 226517 w 356387"/>
                <a:gd name="connsiteY10" fmla="*/ 312803 h 356376"/>
                <a:gd name="connsiteX11" fmla="*/ 224336 w 356387"/>
                <a:gd name="connsiteY11" fmla="*/ 312177 h 356376"/>
                <a:gd name="connsiteX12" fmla="*/ 195032 w 356387"/>
                <a:gd name="connsiteY12" fmla="*/ 265646 h 356376"/>
                <a:gd name="connsiteX13" fmla="*/ 198513 w 356387"/>
                <a:gd name="connsiteY13" fmla="*/ 246633 h 356376"/>
                <a:gd name="connsiteX14" fmla="*/ 203930 w 356387"/>
                <a:gd name="connsiteY14" fmla="*/ 244301 h 356376"/>
                <a:gd name="connsiteX15" fmla="*/ 206262 w 356387"/>
                <a:gd name="connsiteY15" fmla="*/ 249718 h 356376"/>
                <a:gd name="connsiteX16" fmla="*/ 203397 w 356387"/>
                <a:gd name="connsiteY16" fmla="*/ 265646 h 356376"/>
                <a:gd name="connsiteX17" fmla="*/ 228698 w 356387"/>
                <a:gd name="connsiteY17" fmla="*/ 305054 h 356376"/>
                <a:gd name="connsiteX18" fmla="*/ 230078 w 356387"/>
                <a:gd name="connsiteY18" fmla="*/ 310785 h 356376"/>
                <a:gd name="connsiteX19" fmla="*/ 226517 w 356387"/>
                <a:gd name="connsiteY19" fmla="*/ 312803 h 356376"/>
                <a:gd name="connsiteX20" fmla="*/ 108549 w 356387"/>
                <a:gd name="connsiteY20" fmla="*/ 303105 h 356376"/>
                <a:gd name="connsiteX21" fmla="*/ 105068 w 356387"/>
                <a:gd name="connsiteY21" fmla="*/ 301238 h 356376"/>
                <a:gd name="connsiteX22" fmla="*/ 106240 w 356387"/>
                <a:gd name="connsiteY22" fmla="*/ 295449 h 356376"/>
                <a:gd name="connsiteX23" fmla="*/ 174835 w 356387"/>
                <a:gd name="connsiteY23" fmla="*/ 240937 h 356376"/>
                <a:gd name="connsiteX24" fmla="*/ 204557 w 356387"/>
                <a:gd name="connsiteY24" fmla="*/ 185775 h 356376"/>
                <a:gd name="connsiteX25" fmla="*/ 177724 w 356387"/>
                <a:gd name="connsiteY25" fmla="*/ 156970 h 356376"/>
                <a:gd name="connsiteX26" fmla="*/ 138838 w 356387"/>
                <a:gd name="connsiteY26" fmla="*/ 192074 h 356376"/>
                <a:gd name="connsiteX27" fmla="*/ 120439 w 356387"/>
                <a:gd name="connsiteY27" fmla="*/ 216320 h 356376"/>
                <a:gd name="connsiteX28" fmla="*/ 64373 w 356387"/>
                <a:gd name="connsiteY28" fmla="*/ 254405 h 356376"/>
                <a:gd name="connsiteX29" fmla="*/ 58735 w 356387"/>
                <a:gd name="connsiteY29" fmla="*/ 252665 h 356376"/>
                <a:gd name="connsiteX30" fmla="*/ 60486 w 356387"/>
                <a:gd name="connsiteY30" fmla="*/ 247027 h 356376"/>
                <a:gd name="connsiteX31" fmla="*/ 114616 w 356387"/>
                <a:gd name="connsiteY31" fmla="*/ 210345 h 356376"/>
                <a:gd name="connsiteX32" fmla="*/ 131889 w 356387"/>
                <a:gd name="connsiteY32" fmla="*/ 187457 h 356376"/>
                <a:gd name="connsiteX33" fmla="*/ 177736 w 356387"/>
                <a:gd name="connsiteY33" fmla="*/ 148629 h 356376"/>
                <a:gd name="connsiteX34" fmla="*/ 212932 w 356387"/>
                <a:gd name="connsiteY34" fmla="*/ 185787 h 356376"/>
                <a:gd name="connsiteX35" fmla="*/ 180624 w 356387"/>
                <a:gd name="connsiteY35" fmla="*/ 246981 h 356376"/>
                <a:gd name="connsiteX36" fmla="*/ 110869 w 356387"/>
                <a:gd name="connsiteY36" fmla="*/ 302421 h 356376"/>
                <a:gd name="connsiteX37" fmla="*/ 108549 w 356387"/>
                <a:gd name="connsiteY37" fmla="*/ 303105 h 356376"/>
                <a:gd name="connsiteX38" fmla="*/ 263129 w 356387"/>
                <a:gd name="connsiteY38" fmla="*/ 292433 h 356376"/>
                <a:gd name="connsiteX39" fmla="*/ 261598 w 356387"/>
                <a:gd name="connsiteY39" fmla="*/ 292142 h 356376"/>
                <a:gd name="connsiteX40" fmla="*/ 224197 w 356387"/>
                <a:gd name="connsiteY40" fmla="*/ 236180 h 356376"/>
                <a:gd name="connsiteX41" fmla="*/ 227468 w 356387"/>
                <a:gd name="connsiteY41" fmla="*/ 212422 h 356376"/>
                <a:gd name="connsiteX42" fmla="*/ 231482 w 356387"/>
                <a:gd name="connsiteY42" fmla="*/ 180949 h 356376"/>
                <a:gd name="connsiteX43" fmla="*/ 177701 w 356387"/>
                <a:gd name="connsiteY43" fmla="*/ 128583 h 356376"/>
                <a:gd name="connsiteX44" fmla="*/ 122121 w 356387"/>
                <a:gd name="connsiteY44" fmla="*/ 165044 h 356376"/>
                <a:gd name="connsiteX45" fmla="*/ 58793 w 356387"/>
                <a:gd name="connsiteY45" fmla="*/ 223048 h 356376"/>
                <a:gd name="connsiteX46" fmla="*/ 53422 w 356387"/>
                <a:gd name="connsiteY46" fmla="*/ 220577 h 356376"/>
                <a:gd name="connsiteX47" fmla="*/ 55893 w 356387"/>
                <a:gd name="connsiteY47" fmla="*/ 215206 h 356376"/>
                <a:gd name="connsiteX48" fmla="*/ 114929 w 356387"/>
                <a:gd name="connsiteY48" fmla="*/ 160798 h 356376"/>
                <a:gd name="connsiteX49" fmla="*/ 177701 w 356387"/>
                <a:gd name="connsiteY49" fmla="*/ 120230 h 356376"/>
                <a:gd name="connsiteX50" fmla="*/ 239835 w 356387"/>
                <a:gd name="connsiteY50" fmla="*/ 180937 h 356376"/>
                <a:gd name="connsiteX51" fmla="*/ 235647 w 356387"/>
                <a:gd name="connsiteY51" fmla="*/ 214116 h 356376"/>
                <a:gd name="connsiteX52" fmla="*/ 232549 w 356387"/>
                <a:gd name="connsiteY52" fmla="*/ 236157 h 356376"/>
                <a:gd name="connsiteX53" fmla="*/ 264649 w 356387"/>
                <a:gd name="connsiteY53" fmla="*/ 284347 h 356376"/>
                <a:gd name="connsiteX54" fmla="*/ 267004 w 356387"/>
                <a:gd name="connsiteY54" fmla="*/ 289764 h 356376"/>
                <a:gd name="connsiteX55" fmla="*/ 263129 w 356387"/>
                <a:gd name="connsiteY55" fmla="*/ 292433 h 356376"/>
                <a:gd name="connsiteX56" fmla="*/ 83560 w 356387"/>
                <a:gd name="connsiteY56" fmla="*/ 284695 h 356376"/>
                <a:gd name="connsiteX57" fmla="*/ 79999 w 356387"/>
                <a:gd name="connsiteY57" fmla="*/ 282699 h 356376"/>
                <a:gd name="connsiteX58" fmla="*/ 81368 w 356387"/>
                <a:gd name="connsiteY58" fmla="*/ 276957 h 356376"/>
                <a:gd name="connsiteX59" fmla="*/ 174221 w 356387"/>
                <a:gd name="connsiteY59" fmla="*/ 186332 h 356376"/>
                <a:gd name="connsiteX60" fmla="*/ 179870 w 356387"/>
                <a:gd name="connsiteY60" fmla="*/ 184615 h 356376"/>
                <a:gd name="connsiteX61" fmla="*/ 181587 w 356387"/>
                <a:gd name="connsiteY61" fmla="*/ 190264 h 356376"/>
                <a:gd name="connsiteX62" fmla="*/ 85741 w 356387"/>
                <a:gd name="connsiteY62" fmla="*/ 284068 h 356376"/>
                <a:gd name="connsiteX63" fmla="*/ 83560 w 356387"/>
                <a:gd name="connsiteY63" fmla="*/ 284695 h 356376"/>
                <a:gd name="connsiteX64" fmla="*/ 280704 w 356387"/>
                <a:gd name="connsiteY64" fmla="*/ 269834 h 356376"/>
                <a:gd name="connsiteX65" fmla="*/ 279034 w 356387"/>
                <a:gd name="connsiteY65" fmla="*/ 269486 h 356376"/>
                <a:gd name="connsiteX66" fmla="*/ 253686 w 356387"/>
                <a:gd name="connsiteY66" fmla="*/ 227619 h 356376"/>
                <a:gd name="connsiteX67" fmla="*/ 256551 w 356387"/>
                <a:gd name="connsiteY67" fmla="*/ 203048 h 356376"/>
                <a:gd name="connsiteX68" fmla="*/ 259695 w 356387"/>
                <a:gd name="connsiteY68" fmla="*/ 173536 h 356376"/>
                <a:gd name="connsiteX69" fmla="*/ 177701 w 356387"/>
                <a:gd name="connsiteY69" fmla="*/ 100405 h 356376"/>
                <a:gd name="connsiteX70" fmla="*/ 105173 w 356387"/>
                <a:gd name="connsiteY70" fmla="*/ 139128 h 356376"/>
                <a:gd name="connsiteX71" fmla="*/ 99488 w 356387"/>
                <a:gd name="connsiteY71" fmla="*/ 146564 h 356376"/>
                <a:gd name="connsiteX72" fmla="*/ 58920 w 356387"/>
                <a:gd name="connsiteY72" fmla="*/ 184731 h 356376"/>
                <a:gd name="connsiteX73" fmla="*/ 53480 w 356387"/>
                <a:gd name="connsiteY73" fmla="*/ 182434 h 356376"/>
                <a:gd name="connsiteX74" fmla="*/ 55777 w 356387"/>
                <a:gd name="connsiteY74" fmla="*/ 176993 h 356376"/>
                <a:gd name="connsiteX75" fmla="*/ 92795 w 356387"/>
                <a:gd name="connsiteY75" fmla="*/ 141553 h 356376"/>
                <a:gd name="connsiteX76" fmla="*/ 98641 w 356387"/>
                <a:gd name="connsiteY76" fmla="*/ 133908 h 356376"/>
                <a:gd name="connsiteX77" fmla="*/ 177689 w 356387"/>
                <a:gd name="connsiteY77" fmla="*/ 92064 h 356376"/>
                <a:gd name="connsiteX78" fmla="*/ 268048 w 356387"/>
                <a:gd name="connsiteY78" fmla="*/ 173548 h 356376"/>
                <a:gd name="connsiteX79" fmla="*/ 264683 w 356387"/>
                <a:gd name="connsiteY79" fmla="*/ 204939 h 356376"/>
                <a:gd name="connsiteX80" fmla="*/ 262027 w 356387"/>
                <a:gd name="connsiteY80" fmla="*/ 227642 h 356376"/>
                <a:gd name="connsiteX81" fmla="*/ 282340 w 356387"/>
                <a:gd name="connsiteY81" fmla="*/ 261853 h 356376"/>
                <a:gd name="connsiteX82" fmla="*/ 284509 w 356387"/>
                <a:gd name="connsiteY82" fmla="*/ 267352 h 356376"/>
                <a:gd name="connsiteX83" fmla="*/ 280704 w 356387"/>
                <a:gd name="connsiteY83" fmla="*/ 269834 h 356376"/>
                <a:gd name="connsiteX84" fmla="*/ 284509 w 356387"/>
                <a:gd name="connsiteY84" fmla="*/ 241981 h 356376"/>
                <a:gd name="connsiteX85" fmla="*/ 282050 w 356387"/>
                <a:gd name="connsiteY85" fmla="*/ 241180 h 356376"/>
                <a:gd name="connsiteX86" fmla="*/ 281133 w 356387"/>
                <a:gd name="connsiteY86" fmla="*/ 235345 h 356376"/>
                <a:gd name="connsiteX87" fmla="*/ 294463 w 356387"/>
                <a:gd name="connsiteY87" fmla="*/ 184023 h 356376"/>
                <a:gd name="connsiteX88" fmla="*/ 287119 w 356387"/>
                <a:gd name="connsiteY88" fmla="*/ 146959 h 356376"/>
                <a:gd name="connsiteX89" fmla="*/ 289138 w 356387"/>
                <a:gd name="connsiteY89" fmla="*/ 141402 h 356376"/>
                <a:gd name="connsiteX90" fmla="*/ 294695 w 356387"/>
                <a:gd name="connsiteY90" fmla="*/ 143409 h 356376"/>
                <a:gd name="connsiteX91" fmla="*/ 302827 w 356387"/>
                <a:gd name="connsiteY91" fmla="*/ 184023 h 356376"/>
                <a:gd name="connsiteX92" fmla="*/ 287885 w 356387"/>
                <a:gd name="connsiteY92" fmla="*/ 240264 h 356376"/>
                <a:gd name="connsiteX93" fmla="*/ 284509 w 356387"/>
                <a:gd name="connsiteY93" fmla="*/ 241981 h 356376"/>
                <a:gd name="connsiteX94" fmla="*/ 64141 w 356387"/>
                <a:gd name="connsiteY94" fmla="*/ 141820 h 356376"/>
                <a:gd name="connsiteX95" fmla="*/ 61844 w 356387"/>
                <a:gd name="connsiteY95" fmla="*/ 141135 h 356376"/>
                <a:gd name="connsiteX96" fmla="*/ 60649 w 356387"/>
                <a:gd name="connsiteY96" fmla="*/ 135346 h 356376"/>
                <a:gd name="connsiteX97" fmla="*/ 177701 w 356387"/>
                <a:gd name="connsiteY97" fmla="*/ 63955 h 356376"/>
                <a:gd name="connsiteX98" fmla="*/ 285565 w 356387"/>
                <a:gd name="connsiteY98" fmla="*/ 122110 h 356376"/>
                <a:gd name="connsiteX99" fmla="*/ 284370 w 356387"/>
                <a:gd name="connsiteY99" fmla="*/ 127899 h 356376"/>
                <a:gd name="connsiteX100" fmla="*/ 278581 w 356387"/>
                <a:gd name="connsiteY100" fmla="*/ 126704 h 356376"/>
                <a:gd name="connsiteX101" fmla="*/ 177701 w 356387"/>
                <a:gd name="connsiteY101" fmla="*/ 72308 h 356376"/>
                <a:gd name="connsiteX102" fmla="*/ 67621 w 356387"/>
                <a:gd name="connsiteY102" fmla="*/ 139952 h 356376"/>
                <a:gd name="connsiteX103" fmla="*/ 64141 w 356387"/>
                <a:gd name="connsiteY103" fmla="*/ 141820 h 356376"/>
                <a:gd name="connsiteX104" fmla="*/ 278001 w 356387"/>
                <a:gd name="connsiteY104" fmla="*/ 85544 h 356376"/>
                <a:gd name="connsiteX105" fmla="*/ 275020 w 356387"/>
                <a:gd name="connsiteY105" fmla="*/ 84291 h 356376"/>
                <a:gd name="connsiteX106" fmla="*/ 179220 w 356387"/>
                <a:gd name="connsiteY106" fmla="*/ 43155 h 356376"/>
                <a:gd name="connsiteX107" fmla="*/ 178698 w 356387"/>
                <a:gd name="connsiteY107" fmla="*/ 43155 h 356376"/>
                <a:gd name="connsiteX108" fmla="*/ 81310 w 356387"/>
                <a:gd name="connsiteY108" fmla="*/ 83839 h 356376"/>
                <a:gd name="connsiteX109" fmla="*/ 75405 w 356387"/>
                <a:gd name="connsiteY109" fmla="*/ 83908 h 356376"/>
                <a:gd name="connsiteX110" fmla="*/ 75335 w 356387"/>
                <a:gd name="connsiteY110" fmla="*/ 78004 h 356376"/>
                <a:gd name="connsiteX111" fmla="*/ 178698 w 356387"/>
                <a:gd name="connsiteY111" fmla="*/ 34802 h 356376"/>
                <a:gd name="connsiteX112" fmla="*/ 179255 w 356387"/>
                <a:gd name="connsiteY112" fmla="*/ 34802 h 356376"/>
                <a:gd name="connsiteX113" fmla="*/ 280983 w 356387"/>
                <a:gd name="connsiteY113" fmla="*/ 78444 h 356376"/>
                <a:gd name="connsiteX114" fmla="*/ 280925 w 356387"/>
                <a:gd name="connsiteY114" fmla="*/ 84349 h 356376"/>
                <a:gd name="connsiteX115" fmla="*/ 278001 w 356387"/>
                <a:gd name="connsiteY115" fmla="*/ 85544 h 356376"/>
                <a:gd name="connsiteX116" fmla="*/ 352200 w 356387"/>
                <a:gd name="connsiteY116" fmla="*/ 356376 h 356376"/>
                <a:gd name="connsiteX117" fmla="*/ 305797 w 356387"/>
                <a:gd name="connsiteY117" fmla="*/ 356376 h 356376"/>
                <a:gd name="connsiteX118" fmla="*/ 305797 w 356387"/>
                <a:gd name="connsiteY118" fmla="*/ 348023 h 356376"/>
                <a:gd name="connsiteX119" fmla="*/ 348023 w 356387"/>
                <a:gd name="connsiteY119" fmla="*/ 348023 h 356376"/>
                <a:gd name="connsiteX120" fmla="*/ 348023 w 356387"/>
                <a:gd name="connsiteY120" fmla="*/ 305797 h 356376"/>
                <a:gd name="connsiteX121" fmla="*/ 356388 w 356387"/>
                <a:gd name="connsiteY121" fmla="*/ 305797 h 356376"/>
                <a:gd name="connsiteX122" fmla="*/ 356388 w 356387"/>
                <a:gd name="connsiteY122" fmla="*/ 352200 h 356376"/>
                <a:gd name="connsiteX123" fmla="*/ 352200 w 356387"/>
                <a:gd name="connsiteY123" fmla="*/ 356376 h 356376"/>
                <a:gd name="connsiteX124" fmla="*/ 50579 w 356387"/>
                <a:gd name="connsiteY124" fmla="*/ 356376 h 356376"/>
                <a:gd name="connsiteX125" fmla="*/ 4176 w 356387"/>
                <a:gd name="connsiteY125" fmla="*/ 356376 h 356376"/>
                <a:gd name="connsiteX126" fmla="*/ 0 w 356387"/>
                <a:gd name="connsiteY126" fmla="*/ 352200 h 356376"/>
                <a:gd name="connsiteX127" fmla="*/ 0 w 356387"/>
                <a:gd name="connsiteY127" fmla="*/ 305797 h 356376"/>
                <a:gd name="connsiteX128" fmla="*/ 8353 w 356387"/>
                <a:gd name="connsiteY128" fmla="*/ 305797 h 356376"/>
                <a:gd name="connsiteX129" fmla="*/ 8353 w 356387"/>
                <a:gd name="connsiteY129" fmla="*/ 348023 h 356376"/>
                <a:gd name="connsiteX130" fmla="*/ 50579 w 356387"/>
                <a:gd name="connsiteY130" fmla="*/ 348023 h 356376"/>
                <a:gd name="connsiteX131" fmla="*/ 50579 w 356387"/>
                <a:gd name="connsiteY131" fmla="*/ 356376 h 356376"/>
                <a:gd name="connsiteX132" fmla="*/ 356376 w 356387"/>
                <a:gd name="connsiteY132" fmla="*/ 50579 h 356376"/>
                <a:gd name="connsiteX133" fmla="*/ 348023 w 356387"/>
                <a:gd name="connsiteY133" fmla="*/ 50579 h 356376"/>
                <a:gd name="connsiteX134" fmla="*/ 348023 w 356387"/>
                <a:gd name="connsiteY134" fmla="*/ 8353 h 356376"/>
                <a:gd name="connsiteX135" fmla="*/ 305797 w 356387"/>
                <a:gd name="connsiteY135" fmla="*/ 8353 h 356376"/>
                <a:gd name="connsiteX136" fmla="*/ 305797 w 356387"/>
                <a:gd name="connsiteY136" fmla="*/ 0 h 356376"/>
                <a:gd name="connsiteX137" fmla="*/ 352200 w 356387"/>
                <a:gd name="connsiteY137" fmla="*/ 0 h 356376"/>
                <a:gd name="connsiteX138" fmla="*/ 356376 w 356387"/>
                <a:gd name="connsiteY138" fmla="*/ 4176 h 356376"/>
                <a:gd name="connsiteX139" fmla="*/ 356376 w 356387"/>
                <a:gd name="connsiteY139" fmla="*/ 50579 h 356376"/>
                <a:gd name="connsiteX140" fmla="*/ 8353 w 356387"/>
                <a:gd name="connsiteY140" fmla="*/ 50579 h 356376"/>
                <a:gd name="connsiteX141" fmla="*/ 0 w 356387"/>
                <a:gd name="connsiteY141" fmla="*/ 50579 h 356376"/>
                <a:gd name="connsiteX142" fmla="*/ 0 w 356387"/>
                <a:gd name="connsiteY142" fmla="*/ 4176 h 356376"/>
                <a:gd name="connsiteX143" fmla="*/ 4176 w 356387"/>
                <a:gd name="connsiteY143" fmla="*/ 0 h 356376"/>
                <a:gd name="connsiteX144" fmla="*/ 50579 w 356387"/>
                <a:gd name="connsiteY144" fmla="*/ 0 h 356376"/>
                <a:gd name="connsiteX145" fmla="*/ 50579 w 356387"/>
                <a:gd name="connsiteY145" fmla="*/ 8353 h 356376"/>
                <a:gd name="connsiteX146" fmla="*/ 8353 w 356387"/>
                <a:gd name="connsiteY146" fmla="*/ 8353 h 356376"/>
                <a:gd name="connsiteX147" fmla="*/ 8353 w 356387"/>
                <a:gd name="connsiteY147" fmla="*/ 50579 h 35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356387" h="356376">
                  <a:moveTo>
                    <a:pt x="190102" y="321574"/>
                  </a:moveTo>
                  <a:cubicBezTo>
                    <a:pt x="187956" y="321574"/>
                    <a:pt x="186135" y="319938"/>
                    <a:pt x="185949" y="317769"/>
                  </a:cubicBezTo>
                  <a:cubicBezTo>
                    <a:pt x="184951" y="306690"/>
                    <a:pt x="178176" y="295518"/>
                    <a:pt x="165288" y="295518"/>
                  </a:cubicBezTo>
                  <a:cubicBezTo>
                    <a:pt x="153409" y="295518"/>
                    <a:pt x="146448" y="302270"/>
                    <a:pt x="139082" y="313175"/>
                  </a:cubicBezTo>
                  <a:cubicBezTo>
                    <a:pt x="137794" y="315100"/>
                    <a:pt x="135219" y="315588"/>
                    <a:pt x="133281" y="314312"/>
                  </a:cubicBezTo>
                  <a:cubicBezTo>
                    <a:pt x="131367" y="313024"/>
                    <a:pt x="130868" y="310414"/>
                    <a:pt x="132156" y="308511"/>
                  </a:cubicBezTo>
                  <a:cubicBezTo>
                    <a:pt x="139650" y="297421"/>
                    <a:pt x="148838" y="287154"/>
                    <a:pt x="165276" y="287154"/>
                  </a:cubicBezTo>
                  <a:cubicBezTo>
                    <a:pt x="183339" y="287154"/>
                    <a:pt x="192956" y="302641"/>
                    <a:pt x="194255" y="317015"/>
                  </a:cubicBezTo>
                  <a:cubicBezTo>
                    <a:pt x="194464" y="319312"/>
                    <a:pt x="192770" y="321342"/>
                    <a:pt x="190473" y="321550"/>
                  </a:cubicBezTo>
                  <a:cubicBezTo>
                    <a:pt x="190357" y="321562"/>
                    <a:pt x="190230" y="321574"/>
                    <a:pt x="190102" y="321574"/>
                  </a:cubicBezTo>
                  <a:close/>
                  <a:moveTo>
                    <a:pt x="226517" y="312803"/>
                  </a:moveTo>
                  <a:cubicBezTo>
                    <a:pt x="225774" y="312803"/>
                    <a:pt x="225020" y="312595"/>
                    <a:pt x="224336" y="312177"/>
                  </a:cubicBezTo>
                  <a:cubicBezTo>
                    <a:pt x="205983" y="300947"/>
                    <a:pt x="195032" y="283558"/>
                    <a:pt x="195032" y="265646"/>
                  </a:cubicBezTo>
                  <a:cubicBezTo>
                    <a:pt x="195032" y="259185"/>
                    <a:pt x="196332" y="252085"/>
                    <a:pt x="198513" y="246633"/>
                  </a:cubicBezTo>
                  <a:cubicBezTo>
                    <a:pt x="199359" y="244463"/>
                    <a:pt x="201854" y="243454"/>
                    <a:pt x="203930" y="244301"/>
                  </a:cubicBezTo>
                  <a:cubicBezTo>
                    <a:pt x="206088" y="245148"/>
                    <a:pt x="207120" y="247572"/>
                    <a:pt x="206262" y="249718"/>
                  </a:cubicBezTo>
                  <a:cubicBezTo>
                    <a:pt x="204139" y="255043"/>
                    <a:pt x="203397" y="261447"/>
                    <a:pt x="203397" y="265646"/>
                  </a:cubicBezTo>
                  <a:cubicBezTo>
                    <a:pt x="203397" y="280391"/>
                    <a:pt x="213095" y="295495"/>
                    <a:pt x="228698" y="305054"/>
                  </a:cubicBezTo>
                  <a:cubicBezTo>
                    <a:pt x="230670" y="306261"/>
                    <a:pt x="231296" y="308824"/>
                    <a:pt x="230078" y="310785"/>
                  </a:cubicBezTo>
                  <a:cubicBezTo>
                    <a:pt x="229289" y="312096"/>
                    <a:pt x="227921" y="312803"/>
                    <a:pt x="226517" y="312803"/>
                  </a:cubicBezTo>
                  <a:close/>
                  <a:moveTo>
                    <a:pt x="108549" y="303105"/>
                  </a:moveTo>
                  <a:cubicBezTo>
                    <a:pt x="107191" y="303105"/>
                    <a:pt x="105869" y="302444"/>
                    <a:pt x="105068" y="301238"/>
                  </a:cubicBezTo>
                  <a:cubicBezTo>
                    <a:pt x="103792" y="299312"/>
                    <a:pt x="104314" y="296713"/>
                    <a:pt x="106240" y="295449"/>
                  </a:cubicBezTo>
                  <a:cubicBezTo>
                    <a:pt x="132411" y="278094"/>
                    <a:pt x="153571" y="261284"/>
                    <a:pt x="174835" y="240937"/>
                  </a:cubicBezTo>
                  <a:cubicBezTo>
                    <a:pt x="185937" y="230310"/>
                    <a:pt x="204557" y="209011"/>
                    <a:pt x="204557" y="185775"/>
                  </a:cubicBezTo>
                  <a:cubicBezTo>
                    <a:pt x="204557" y="171808"/>
                    <a:pt x="195148" y="156970"/>
                    <a:pt x="177724" y="156970"/>
                  </a:cubicBezTo>
                  <a:cubicBezTo>
                    <a:pt x="162214" y="156970"/>
                    <a:pt x="150323" y="174824"/>
                    <a:pt x="138838" y="192074"/>
                  </a:cubicBezTo>
                  <a:cubicBezTo>
                    <a:pt x="132701" y="201297"/>
                    <a:pt x="126901" y="209997"/>
                    <a:pt x="120439" y="216320"/>
                  </a:cubicBezTo>
                  <a:cubicBezTo>
                    <a:pt x="102829" y="233524"/>
                    <a:pt x="84628" y="243744"/>
                    <a:pt x="64373" y="254405"/>
                  </a:cubicBezTo>
                  <a:cubicBezTo>
                    <a:pt x="62331" y="255484"/>
                    <a:pt x="59790" y="254684"/>
                    <a:pt x="58735" y="252665"/>
                  </a:cubicBezTo>
                  <a:cubicBezTo>
                    <a:pt x="57656" y="250612"/>
                    <a:pt x="58445" y="248094"/>
                    <a:pt x="60486" y="247027"/>
                  </a:cubicBezTo>
                  <a:cubicBezTo>
                    <a:pt x="80150" y="236668"/>
                    <a:pt x="97806" y="226772"/>
                    <a:pt x="114616" y="210345"/>
                  </a:cubicBezTo>
                  <a:cubicBezTo>
                    <a:pt x="120439" y="204649"/>
                    <a:pt x="126008" y="196297"/>
                    <a:pt x="131889" y="187457"/>
                  </a:cubicBezTo>
                  <a:cubicBezTo>
                    <a:pt x="144604" y="168362"/>
                    <a:pt x="157747" y="148629"/>
                    <a:pt x="177736" y="148629"/>
                  </a:cubicBezTo>
                  <a:cubicBezTo>
                    <a:pt x="199765" y="148629"/>
                    <a:pt x="212932" y="167515"/>
                    <a:pt x="212932" y="185787"/>
                  </a:cubicBezTo>
                  <a:cubicBezTo>
                    <a:pt x="212932" y="212143"/>
                    <a:pt x="192689" y="235438"/>
                    <a:pt x="180624" y="246981"/>
                  </a:cubicBezTo>
                  <a:cubicBezTo>
                    <a:pt x="158989" y="267688"/>
                    <a:pt x="137481" y="284788"/>
                    <a:pt x="110869" y="302421"/>
                  </a:cubicBezTo>
                  <a:cubicBezTo>
                    <a:pt x="110138" y="302873"/>
                    <a:pt x="109337" y="303105"/>
                    <a:pt x="108549" y="303105"/>
                  </a:cubicBezTo>
                  <a:close/>
                  <a:moveTo>
                    <a:pt x="263129" y="292433"/>
                  </a:moveTo>
                  <a:cubicBezTo>
                    <a:pt x="262619" y="292433"/>
                    <a:pt x="262096" y="292340"/>
                    <a:pt x="261598" y="292142"/>
                  </a:cubicBezTo>
                  <a:cubicBezTo>
                    <a:pt x="230693" y="279996"/>
                    <a:pt x="224197" y="255008"/>
                    <a:pt x="224197" y="236180"/>
                  </a:cubicBezTo>
                  <a:cubicBezTo>
                    <a:pt x="224197" y="228060"/>
                    <a:pt x="225798" y="220473"/>
                    <a:pt x="227468" y="212422"/>
                  </a:cubicBezTo>
                  <a:cubicBezTo>
                    <a:pt x="229440" y="203002"/>
                    <a:pt x="231482" y="193281"/>
                    <a:pt x="231482" y="180949"/>
                  </a:cubicBezTo>
                  <a:cubicBezTo>
                    <a:pt x="231482" y="159000"/>
                    <a:pt x="212805" y="128583"/>
                    <a:pt x="177701" y="128583"/>
                  </a:cubicBezTo>
                  <a:cubicBezTo>
                    <a:pt x="148096" y="128583"/>
                    <a:pt x="130172" y="151425"/>
                    <a:pt x="122121" y="165044"/>
                  </a:cubicBezTo>
                  <a:cubicBezTo>
                    <a:pt x="114256" y="178350"/>
                    <a:pt x="92354" y="210635"/>
                    <a:pt x="58793" y="223048"/>
                  </a:cubicBezTo>
                  <a:cubicBezTo>
                    <a:pt x="56612" y="223825"/>
                    <a:pt x="54222" y="222758"/>
                    <a:pt x="53422" y="220577"/>
                  </a:cubicBezTo>
                  <a:cubicBezTo>
                    <a:pt x="52621" y="218408"/>
                    <a:pt x="53735" y="216007"/>
                    <a:pt x="55893" y="215206"/>
                  </a:cubicBezTo>
                  <a:cubicBezTo>
                    <a:pt x="77435" y="207248"/>
                    <a:pt x="99500" y="186912"/>
                    <a:pt x="114929" y="160798"/>
                  </a:cubicBezTo>
                  <a:cubicBezTo>
                    <a:pt x="123885" y="145648"/>
                    <a:pt x="143943" y="120230"/>
                    <a:pt x="177701" y="120230"/>
                  </a:cubicBezTo>
                  <a:cubicBezTo>
                    <a:pt x="214870" y="120230"/>
                    <a:pt x="239835" y="151622"/>
                    <a:pt x="239835" y="180937"/>
                  </a:cubicBezTo>
                  <a:cubicBezTo>
                    <a:pt x="239835" y="194127"/>
                    <a:pt x="237607" y="204754"/>
                    <a:pt x="235647" y="214116"/>
                  </a:cubicBezTo>
                  <a:cubicBezTo>
                    <a:pt x="233976" y="222051"/>
                    <a:pt x="232549" y="228895"/>
                    <a:pt x="232549" y="236157"/>
                  </a:cubicBezTo>
                  <a:cubicBezTo>
                    <a:pt x="232549" y="252387"/>
                    <a:pt x="238106" y="273929"/>
                    <a:pt x="264649" y="284347"/>
                  </a:cubicBezTo>
                  <a:cubicBezTo>
                    <a:pt x="266795" y="285182"/>
                    <a:pt x="267850" y="287607"/>
                    <a:pt x="267004" y="289764"/>
                  </a:cubicBezTo>
                  <a:cubicBezTo>
                    <a:pt x="266377" y="291423"/>
                    <a:pt x="264799" y="292433"/>
                    <a:pt x="263129" y="292433"/>
                  </a:cubicBezTo>
                  <a:close/>
                  <a:moveTo>
                    <a:pt x="83560" y="284695"/>
                  </a:moveTo>
                  <a:cubicBezTo>
                    <a:pt x="82157" y="284695"/>
                    <a:pt x="80788" y="283976"/>
                    <a:pt x="79999" y="282699"/>
                  </a:cubicBezTo>
                  <a:cubicBezTo>
                    <a:pt x="78793" y="280739"/>
                    <a:pt x="79407" y="278164"/>
                    <a:pt x="81368" y="276957"/>
                  </a:cubicBezTo>
                  <a:cubicBezTo>
                    <a:pt x="111634" y="258338"/>
                    <a:pt x="152307" y="227480"/>
                    <a:pt x="174221" y="186332"/>
                  </a:cubicBezTo>
                  <a:cubicBezTo>
                    <a:pt x="175311" y="184290"/>
                    <a:pt x="177817" y="183501"/>
                    <a:pt x="179870" y="184615"/>
                  </a:cubicBezTo>
                  <a:cubicBezTo>
                    <a:pt x="181900" y="185705"/>
                    <a:pt x="182678" y="188234"/>
                    <a:pt x="181587" y="190264"/>
                  </a:cubicBezTo>
                  <a:cubicBezTo>
                    <a:pt x="158792" y="233048"/>
                    <a:pt x="116878" y="264904"/>
                    <a:pt x="85741" y="284068"/>
                  </a:cubicBezTo>
                  <a:cubicBezTo>
                    <a:pt x="85069" y="284486"/>
                    <a:pt x="84314" y="284695"/>
                    <a:pt x="83560" y="284695"/>
                  </a:cubicBezTo>
                  <a:close/>
                  <a:moveTo>
                    <a:pt x="280704" y="269834"/>
                  </a:moveTo>
                  <a:cubicBezTo>
                    <a:pt x="280147" y="269834"/>
                    <a:pt x="279579" y="269718"/>
                    <a:pt x="279034" y="269486"/>
                  </a:cubicBezTo>
                  <a:cubicBezTo>
                    <a:pt x="257943" y="260322"/>
                    <a:pt x="253686" y="246667"/>
                    <a:pt x="253686" y="227619"/>
                  </a:cubicBezTo>
                  <a:cubicBezTo>
                    <a:pt x="253686" y="215543"/>
                    <a:pt x="255078" y="209487"/>
                    <a:pt x="256551" y="203048"/>
                  </a:cubicBezTo>
                  <a:cubicBezTo>
                    <a:pt x="258106" y="196285"/>
                    <a:pt x="259695" y="189278"/>
                    <a:pt x="259695" y="173536"/>
                  </a:cubicBezTo>
                  <a:cubicBezTo>
                    <a:pt x="259695" y="138363"/>
                    <a:pt x="228350" y="100405"/>
                    <a:pt x="177701" y="100405"/>
                  </a:cubicBezTo>
                  <a:cubicBezTo>
                    <a:pt x="139430" y="100405"/>
                    <a:pt x="120892" y="119534"/>
                    <a:pt x="105173" y="139128"/>
                  </a:cubicBezTo>
                  <a:cubicBezTo>
                    <a:pt x="103444" y="141298"/>
                    <a:pt x="101542" y="143815"/>
                    <a:pt x="99488" y="146564"/>
                  </a:cubicBezTo>
                  <a:cubicBezTo>
                    <a:pt x="89593" y="159743"/>
                    <a:pt x="76055" y="177794"/>
                    <a:pt x="58920" y="184731"/>
                  </a:cubicBezTo>
                  <a:cubicBezTo>
                    <a:pt x="56774" y="185601"/>
                    <a:pt x="54350" y="184568"/>
                    <a:pt x="53480" y="182434"/>
                  </a:cubicBezTo>
                  <a:cubicBezTo>
                    <a:pt x="52610" y="180299"/>
                    <a:pt x="53642" y="177863"/>
                    <a:pt x="55777" y="176993"/>
                  </a:cubicBezTo>
                  <a:cubicBezTo>
                    <a:pt x="70753" y="170926"/>
                    <a:pt x="83491" y="153942"/>
                    <a:pt x="92795" y="141553"/>
                  </a:cubicBezTo>
                  <a:cubicBezTo>
                    <a:pt x="94918" y="138734"/>
                    <a:pt x="96867" y="136135"/>
                    <a:pt x="98641" y="133908"/>
                  </a:cubicBezTo>
                  <a:cubicBezTo>
                    <a:pt x="115625" y="112725"/>
                    <a:pt x="135718" y="92064"/>
                    <a:pt x="177689" y="92064"/>
                  </a:cubicBezTo>
                  <a:cubicBezTo>
                    <a:pt x="233501" y="92064"/>
                    <a:pt x="268048" y="134360"/>
                    <a:pt x="268048" y="173548"/>
                  </a:cubicBezTo>
                  <a:cubicBezTo>
                    <a:pt x="268048" y="190241"/>
                    <a:pt x="266261" y="198049"/>
                    <a:pt x="264683" y="204939"/>
                  </a:cubicBezTo>
                  <a:cubicBezTo>
                    <a:pt x="263315" y="210891"/>
                    <a:pt x="262027" y="216517"/>
                    <a:pt x="262027" y="227642"/>
                  </a:cubicBezTo>
                  <a:cubicBezTo>
                    <a:pt x="262027" y="246865"/>
                    <a:pt x="266957" y="255182"/>
                    <a:pt x="282340" y="261853"/>
                  </a:cubicBezTo>
                  <a:cubicBezTo>
                    <a:pt x="284463" y="262769"/>
                    <a:pt x="285426" y="265229"/>
                    <a:pt x="284509" y="267352"/>
                  </a:cubicBezTo>
                  <a:cubicBezTo>
                    <a:pt x="283848" y="268895"/>
                    <a:pt x="282317" y="269834"/>
                    <a:pt x="280704" y="269834"/>
                  </a:cubicBezTo>
                  <a:close/>
                  <a:moveTo>
                    <a:pt x="284509" y="241981"/>
                  </a:moveTo>
                  <a:cubicBezTo>
                    <a:pt x="283651" y="241981"/>
                    <a:pt x="282792" y="241725"/>
                    <a:pt x="282050" y="241180"/>
                  </a:cubicBezTo>
                  <a:cubicBezTo>
                    <a:pt x="280182" y="239823"/>
                    <a:pt x="279776" y="237201"/>
                    <a:pt x="281133" y="235345"/>
                  </a:cubicBezTo>
                  <a:cubicBezTo>
                    <a:pt x="289358" y="224081"/>
                    <a:pt x="294463" y="204417"/>
                    <a:pt x="294463" y="184023"/>
                  </a:cubicBezTo>
                  <a:cubicBezTo>
                    <a:pt x="294463" y="172910"/>
                    <a:pt x="293581" y="160729"/>
                    <a:pt x="287119" y="146959"/>
                  </a:cubicBezTo>
                  <a:cubicBezTo>
                    <a:pt x="286145" y="144871"/>
                    <a:pt x="287038" y="142376"/>
                    <a:pt x="289138" y="141402"/>
                  </a:cubicBezTo>
                  <a:cubicBezTo>
                    <a:pt x="291180" y="140439"/>
                    <a:pt x="293709" y="141321"/>
                    <a:pt x="294695" y="143409"/>
                  </a:cubicBezTo>
                  <a:cubicBezTo>
                    <a:pt x="301852" y="158699"/>
                    <a:pt x="302827" y="172527"/>
                    <a:pt x="302827" y="184023"/>
                  </a:cubicBezTo>
                  <a:cubicBezTo>
                    <a:pt x="302827" y="206436"/>
                    <a:pt x="297247" y="227468"/>
                    <a:pt x="287885" y="240264"/>
                  </a:cubicBezTo>
                  <a:cubicBezTo>
                    <a:pt x="287061" y="241377"/>
                    <a:pt x="285785" y="241981"/>
                    <a:pt x="284509" y="241981"/>
                  </a:cubicBezTo>
                  <a:close/>
                  <a:moveTo>
                    <a:pt x="64141" y="141820"/>
                  </a:moveTo>
                  <a:cubicBezTo>
                    <a:pt x="63352" y="141820"/>
                    <a:pt x="62551" y="141599"/>
                    <a:pt x="61844" y="141135"/>
                  </a:cubicBezTo>
                  <a:cubicBezTo>
                    <a:pt x="59918" y="139871"/>
                    <a:pt x="59384" y="137272"/>
                    <a:pt x="60649" y="135346"/>
                  </a:cubicBezTo>
                  <a:cubicBezTo>
                    <a:pt x="80834" y="104697"/>
                    <a:pt x="114941" y="63955"/>
                    <a:pt x="177701" y="63955"/>
                  </a:cubicBezTo>
                  <a:cubicBezTo>
                    <a:pt x="221262" y="63955"/>
                    <a:pt x="261574" y="85695"/>
                    <a:pt x="285565" y="122110"/>
                  </a:cubicBezTo>
                  <a:cubicBezTo>
                    <a:pt x="286829" y="124047"/>
                    <a:pt x="286296" y="126634"/>
                    <a:pt x="284370" y="127899"/>
                  </a:cubicBezTo>
                  <a:cubicBezTo>
                    <a:pt x="282444" y="129163"/>
                    <a:pt x="279857" y="128653"/>
                    <a:pt x="278581" y="126704"/>
                  </a:cubicBezTo>
                  <a:cubicBezTo>
                    <a:pt x="256145" y="92632"/>
                    <a:pt x="218431" y="72308"/>
                    <a:pt x="177701" y="72308"/>
                  </a:cubicBezTo>
                  <a:cubicBezTo>
                    <a:pt x="118966" y="72308"/>
                    <a:pt x="86751" y="110915"/>
                    <a:pt x="67621" y="139952"/>
                  </a:cubicBezTo>
                  <a:cubicBezTo>
                    <a:pt x="66832" y="141170"/>
                    <a:pt x="65498" y="141820"/>
                    <a:pt x="64141" y="141820"/>
                  </a:cubicBezTo>
                  <a:close/>
                  <a:moveTo>
                    <a:pt x="278001" y="85544"/>
                  </a:moveTo>
                  <a:cubicBezTo>
                    <a:pt x="276911" y="85544"/>
                    <a:pt x="275832" y="85127"/>
                    <a:pt x="275020" y="84291"/>
                  </a:cubicBezTo>
                  <a:cubicBezTo>
                    <a:pt x="249544" y="58271"/>
                    <a:pt x="214626" y="43271"/>
                    <a:pt x="179220" y="43155"/>
                  </a:cubicBezTo>
                  <a:cubicBezTo>
                    <a:pt x="179046" y="43155"/>
                    <a:pt x="178872" y="43155"/>
                    <a:pt x="178698" y="43155"/>
                  </a:cubicBezTo>
                  <a:cubicBezTo>
                    <a:pt x="140996" y="43155"/>
                    <a:pt x="107330" y="57215"/>
                    <a:pt x="81310" y="83839"/>
                  </a:cubicBezTo>
                  <a:cubicBezTo>
                    <a:pt x="79697" y="85486"/>
                    <a:pt x="77041" y="85498"/>
                    <a:pt x="75405" y="83908"/>
                  </a:cubicBezTo>
                  <a:cubicBezTo>
                    <a:pt x="73758" y="82296"/>
                    <a:pt x="73723" y="79651"/>
                    <a:pt x="75335" y="78004"/>
                  </a:cubicBezTo>
                  <a:cubicBezTo>
                    <a:pt x="102957" y="49733"/>
                    <a:pt x="138687" y="34802"/>
                    <a:pt x="178698" y="34802"/>
                  </a:cubicBezTo>
                  <a:cubicBezTo>
                    <a:pt x="178884" y="34802"/>
                    <a:pt x="179070" y="34802"/>
                    <a:pt x="179255" y="34802"/>
                  </a:cubicBezTo>
                  <a:cubicBezTo>
                    <a:pt x="216865" y="34930"/>
                    <a:pt x="253941" y="50835"/>
                    <a:pt x="280983" y="78444"/>
                  </a:cubicBezTo>
                  <a:cubicBezTo>
                    <a:pt x="282607" y="80092"/>
                    <a:pt x="282572" y="82737"/>
                    <a:pt x="280925" y="84349"/>
                  </a:cubicBezTo>
                  <a:cubicBezTo>
                    <a:pt x="280101" y="85150"/>
                    <a:pt x="279045" y="85544"/>
                    <a:pt x="278001" y="85544"/>
                  </a:cubicBezTo>
                  <a:close/>
                  <a:moveTo>
                    <a:pt x="352200" y="356376"/>
                  </a:moveTo>
                  <a:lnTo>
                    <a:pt x="305797" y="356376"/>
                  </a:lnTo>
                  <a:lnTo>
                    <a:pt x="305797" y="348023"/>
                  </a:lnTo>
                  <a:lnTo>
                    <a:pt x="348023" y="348023"/>
                  </a:lnTo>
                  <a:lnTo>
                    <a:pt x="348023" y="305797"/>
                  </a:lnTo>
                  <a:lnTo>
                    <a:pt x="356388" y="305797"/>
                  </a:lnTo>
                  <a:lnTo>
                    <a:pt x="356388" y="352200"/>
                  </a:lnTo>
                  <a:cubicBezTo>
                    <a:pt x="356376" y="354508"/>
                    <a:pt x="354508" y="356376"/>
                    <a:pt x="352200" y="356376"/>
                  </a:cubicBezTo>
                  <a:close/>
                  <a:moveTo>
                    <a:pt x="50579" y="356376"/>
                  </a:moveTo>
                  <a:lnTo>
                    <a:pt x="4176" y="356376"/>
                  </a:lnTo>
                  <a:cubicBezTo>
                    <a:pt x="1868" y="356376"/>
                    <a:pt x="0" y="354508"/>
                    <a:pt x="0" y="352200"/>
                  </a:cubicBezTo>
                  <a:lnTo>
                    <a:pt x="0" y="305797"/>
                  </a:lnTo>
                  <a:lnTo>
                    <a:pt x="8353" y="305797"/>
                  </a:lnTo>
                  <a:lnTo>
                    <a:pt x="8353" y="348023"/>
                  </a:lnTo>
                  <a:lnTo>
                    <a:pt x="50579" y="348023"/>
                  </a:lnTo>
                  <a:lnTo>
                    <a:pt x="50579" y="356376"/>
                  </a:lnTo>
                  <a:close/>
                  <a:moveTo>
                    <a:pt x="356376" y="50579"/>
                  </a:moveTo>
                  <a:lnTo>
                    <a:pt x="348023" y="50579"/>
                  </a:lnTo>
                  <a:lnTo>
                    <a:pt x="348023" y="8353"/>
                  </a:lnTo>
                  <a:lnTo>
                    <a:pt x="305797" y="8353"/>
                  </a:lnTo>
                  <a:lnTo>
                    <a:pt x="305797" y="0"/>
                  </a:lnTo>
                  <a:lnTo>
                    <a:pt x="352200" y="0"/>
                  </a:lnTo>
                  <a:cubicBezTo>
                    <a:pt x="354508" y="0"/>
                    <a:pt x="356376" y="1868"/>
                    <a:pt x="356376" y="4176"/>
                  </a:cubicBezTo>
                  <a:lnTo>
                    <a:pt x="356376" y="50579"/>
                  </a:lnTo>
                  <a:close/>
                  <a:moveTo>
                    <a:pt x="8353" y="50579"/>
                  </a:moveTo>
                  <a:lnTo>
                    <a:pt x="0" y="50579"/>
                  </a:lnTo>
                  <a:lnTo>
                    <a:pt x="0" y="4176"/>
                  </a:lnTo>
                  <a:cubicBezTo>
                    <a:pt x="0" y="1868"/>
                    <a:pt x="1868" y="0"/>
                    <a:pt x="4176" y="0"/>
                  </a:cubicBezTo>
                  <a:lnTo>
                    <a:pt x="50579" y="0"/>
                  </a:lnTo>
                  <a:lnTo>
                    <a:pt x="50579" y="8353"/>
                  </a:lnTo>
                  <a:lnTo>
                    <a:pt x="8353" y="8353"/>
                  </a:lnTo>
                  <a:lnTo>
                    <a:pt x="8353" y="50579"/>
                  </a:lnTo>
                  <a:close/>
                </a:path>
              </a:pathLst>
            </a:custGeom>
            <a:solidFill>
              <a:srgbClr val="000000"/>
            </a:solidFill>
            <a:ln w="1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98EB2CB-A4C4-8FA8-83CA-989A3D10C5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598826" y="9545836"/>
              <a:ext cx="1438053" cy="1606896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43A87D26-0CA1-6FD1-74F1-68B29AA0E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9671AAB7-74F8-69B4-5058-B4C55198C3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6" name="Freeform 16">
                <a:extLst>
                  <a:ext uri="{FF2B5EF4-FFF2-40B4-BE49-F238E27FC236}">
                    <a16:creationId xmlns:a16="http://schemas.microsoft.com/office/drawing/2014/main" id="{1D4C40F3-3E0F-2260-2515-F437F34E37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75E0F86A-7CDF-30BB-4FBF-9E0482AD7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09EC91C4-2230-2929-EF8D-0F3751B21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C23B2331-B206-A146-ABE1-C7A8DCE71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3428FDF-F598-B39A-75EA-BE7A3160471F}"/>
                </a:ext>
              </a:extLst>
            </p:cNvPr>
            <p:cNvGrpSpPr/>
            <p:nvPr/>
          </p:nvGrpSpPr>
          <p:grpSpPr>
            <a:xfrm>
              <a:off x="17716977" y="3810064"/>
              <a:ext cx="3130592" cy="2387390"/>
              <a:chOff x="17716977" y="3810064"/>
              <a:chExt cx="3130592" cy="2387390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1ACEA55D-7CB6-487E-FAC0-65E80BD1CC3A}"/>
                  </a:ext>
                </a:extLst>
              </p:cNvPr>
              <p:cNvSpPr/>
              <p:nvPr/>
            </p:nvSpPr>
            <p:spPr>
              <a:xfrm>
                <a:off x="18760516" y="3810064"/>
                <a:ext cx="462580" cy="465301"/>
              </a:xfrm>
              <a:custGeom>
                <a:avLst/>
                <a:gdLst>
                  <a:gd name="connsiteX0" fmla="*/ 462581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1 w 462580"/>
                  <a:gd name="connsiteY4" fmla="*/ 232651 h 465301"/>
                  <a:gd name="connsiteX5" fmla="*/ 462581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1" y="232651"/>
                    </a:moveTo>
                    <a:cubicBezTo>
                      <a:pt x="462581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1" y="103400"/>
                      <a:pt x="462581" y="232651"/>
                    </a:cubicBezTo>
                    <a:lnTo>
                      <a:pt x="462581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B2CC863-FF4D-2CE7-11CC-E03AD3BDCD20}"/>
                  </a:ext>
                </a:extLst>
              </p:cNvPr>
              <p:cNvSpPr/>
              <p:nvPr/>
            </p:nvSpPr>
            <p:spPr>
              <a:xfrm>
                <a:off x="19341462" y="3810064"/>
                <a:ext cx="462580" cy="465301"/>
              </a:xfrm>
              <a:custGeom>
                <a:avLst/>
                <a:gdLst>
                  <a:gd name="connsiteX0" fmla="*/ 462580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0 w 462580"/>
                  <a:gd name="connsiteY4" fmla="*/ 232651 h 465301"/>
                  <a:gd name="connsiteX5" fmla="*/ 462580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0" y="232651"/>
                    </a:moveTo>
                    <a:cubicBezTo>
                      <a:pt x="462580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0" y="103400"/>
                      <a:pt x="462580" y="232651"/>
                    </a:cubicBezTo>
                    <a:lnTo>
                      <a:pt x="462580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D4B1108-EE03-F01B-081F-C116211A61A5}"/>
                  </a:ext>
                </a:extLst>
              </p:cNvPr>
              <p:cNvSpPr/>
              <p:nvPr/>
            </p:nvSpPr>
            <p:spPr>
              <a:xfrm>
                <a:off x="17716977" y="4585566"/>
                <a:ext cx="1062586" cy="1145566"/>
              </a:xfrm>
              <a:custGeom>
                <a:avLst/>
                <a:gdLst>
                  <a:gd name="connsiteX0" fmla="*/ 274839 w 1062586"/>
                  <a:gd name="connsiteY0" fmla="*/ 349656 h 1145566"/>
                  <a:gd name="connsiteX1" fmla="*/ 1062586 w 1062586"/>
                  <a:gd name="connsiteY1" fmla="*/ 0 h 1145566"/>
                  <a:gd name="connsiteX2" fmla="*/ 797283 w 1062586"/>
                  <a:gd name="connsiteY2" fmla="*/ 846250 h 1145566"/>
                  <a:gd name="connsiteX3" fmla="*/ 405450 w 1062586"/>
                  <a:gd name="connsiteY3" fmla="*/ 1145567 h 1145566"/>
                  <a:gd name="connsiteX4" fmla="*/ 12 w 1062586"/>
                  <a:gd name="connsiteY4" fmla="*/ 738768 h 1145566"/>
                  <a:gd name="connsiteX5" fmla="*/ 274839 w 1062586"/>
                  <a:gd name="connsiteY5" fmla="*/ 349656 h 1145566"/>
                  <a:gd name="connsiteX6" fmla="*/ 274839 w 1062586"/>
                  <a:gd name="connsiteY6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2586" h="1145566">
                    <a:moveTo>
                      <a:pt x="274839" y="349656"/>
                    </a:moveTo>
                    <a:lnTo>
                      <a:pt x="1062586" y="0"/>
                    </a:lnTo>
                    <a:lnTo>
                      <a:pt x="797283" y="846250"/>
                    </a:lnTo>
                    <a:cubicBezTo>
                      <a:pt x="746943" y="997269"/>
                      <a:pt x="620414" y="1145567"/>
                      <a:pt x="405450" y="1145567"/>
                    </a:cubicBezTo>
                    <a:cubicBezTo>
                      <a:pt x="182323" y="1145567"/>
                      <a:pt x="12" y="963256"/>
                      <a:pt x="12" y="738768"/>
                    </a:cubicBezTo>
                    <a:cubicBezTo>
                      <a:pt x="-1349" y="548294"/>
                      <a:pt x="115657" y="420404"/>
                      <a:pt x="274839" y="349656"/>
                    </a:cubicBezTo>
                    <a:lnTo>
                      <a:pt x="274839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9CFDD6EF-C9E5-4ED1-28AA-4938E92B9383}"/>
                  </a:ext>
                </a:extLst>
              </p:cNvPr>
              <p:cNvSpPr/>
              <p:nvPr/>
            </p:nvSpPr>
            <p:spPr>
              <a:xfrm>
                <a:off x="19784995" y="4585566"/>
                <a:ext cx="1062574" cy="1145566"/>
              </a:xfrm>
              <a:custGeom>
                <a:avLst/>
                <a:gdLst>
                  <a:gd name="connsiteX0" fmla="*/ 787747 w 1062574"/>
                  <a:gd name="connsiteY0" fmla="*/ 349656 h 1145566"/>
                  <a:gd name="connsiteX1" fmla="*/ 0 w 1062574"/>
                  <a:gd name="connsiteY1" fmla="*/ 0 h 1145566"/>
                  <a:gd name="connsiteX2" fmla="*/ 265304 w 1062574"/>
                  <a:gd name="connsiteY2" fmla="*/ 846250 h 1145566"/>
                  <a:gd name="connsiteX3" fmla="*/ 658497 w 1062574"/>
                  <a:gd name="connsiteY3" fmla="*/ 1145567 h 1145566"/>
                  <a:gd name="connsiteX4" fmla="*/ 658497 w 1062574"/>
                  <a:gd name="connsiteY4" fmla="*/ 1145567 h 1145566"/>
                  <a:gd name="connsiteX5" fmla="*/ 1062575 w 1062574"/>
                  <a:gd name="connsiteY5" fmla="*/ 738768 h 1145566"/>
                  <a:gd name="connsiteX6" fmla="*/ 787747 w 1062574"/>
                  <a:gd name="connsiteY6" fmla="*/ 349656 h 1145566"/>
                  <a:gd name="connsiteX7" fmla="*/ 787747 w 1062574"/>
                  <a:gd name="connsiteY7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2574" h="1145566">
                    <a:moveTo>
                      <a:pt x="787747" y="349656"/>
                    </a:moveTo>
                    <a:lnTo>
                      <a:pt x="0" y="0"/>
                    </a:lnTo>
                    <a:lnTo>
                      <a:pt x="265304" y="846250"/>
                    </a:lnTo>
                    <a:cubicBezTo>
                      <a:pt x="315643" y="997269"/>
                      <a:pt x="443533" y="1145567"/>
                      <a:pt x="658497" y="1145567"/>
                    </a:cubicBezTo>
                    <a:lnTo>
                      <a:pt x="658497" y="1145567"/>
                    </a:lnTo>
                    <a:cubicBezTo>
                      <a:pt x="881624" y="1145567"/>
                      <a:pt x="1062575" y="963256"/>
                      <a:pt x="1062575" y="738768"/>
                    </a:cubicBezTo>
                    <a:cubicBezTo>
                      <a:pt x="1062575" y="548294"/>
                      <a:pt x="946930" y="420404"/>
                      <a:pt x="787747" y="349656"/>
                    </a:cubicBezTo>
                    <a:lnTo>
                      <a:pt x="787747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05AE4CA-7C4B-5076-FB77-C6BE83847AB0}"/>
                  </a:ext>
                </a:extLst>
              </p:cNvPr>
              <p:cNvSpPr/>
              <p:nvPr/>
            </p:nvSpPr>
            <p:spPr>
              <a:xfrm>
                <a:off x="18827182" y="4371963"/>
                <a:ext cx="910195" cy="291153"/>
              </a:xfrm>
              <a:custGeom>
                <a:avLst/>
                <a:gdLst>
                  <a:gd name="connsiteX0" fmla="*/ 910195 w 910195"/>
                  <a:gd name="connsiteY0" fmla="*/ 291154 h 291153"/>
                  <a:gd name="connsiteX1" fmla="*/ 454417 w 910195"/>
                  <a:gd name="connsiteY1" fmla="*/ 0 h 291153"/>
                  <a:gd name="connsiteX2" fmla="*/ 0 w 910195"/>
                  <a:gd name="connsiteY2" fmla="*/ 291154 h 291153"/>
                  <a:gd name="connsiteX3" fmla="*/ 910195 w 910195"/>
                  <a:gd name="connsiteY3" fmla="*/ 291154 h 29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0195" h="291153">
                    <a:moveTo>
                      <a:pt x="910195" y="291154"/>
                    </a:moveTo>
                    <a:cubicBezTo>
                      <a:pt x="829924" y="119727"/>
                      <a:pt x="655776" y="0"/>
                      <a:pt x="454417" y="0"/>
                    </a:cubicBezTo>
                    <a:cubicBezTo>
                      <a:pt x="253059" y="0"/>
                      <a:pt x="80271" y="119727"/>
                      <a:pt x="0" y="291154"/>
                    </a:cubicBezTo>
                    <a:lnTo>
                      <a:pt x="910195" y="291154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F87C040-83BA-A90C-F578-05A5E8CA7CB0}"/>
                  </a:ext>
                </a:extLst>
              </p:cNvPr>
              <p:cNvSpPr/>
              <p:nvPr/>
            </p:nvSpPr>
            <p:spPr>
              <a:xfrm>
                <a:off x="18779563" y="4897128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C867717-2B87-90DF-344C-C944B2F0E933}"/>
                  </a:ext>
                </a:extLst>
              </p:cNvPr>
              <p:cNvSpPr/>
              <p:nvPr/>
            </p:nvSpPr>
            <p:spPr>
              <a:xfrm>
                <a:off x="18779563" y="5401884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grpSp>
            <p:nvGrpSpPr>
              <p:cNvPr id="21" name="Graphic 50">
                <a:extLst>
                  <a:ext uri="{FF2B5EF4-FFF2-40B4-BE49-F238E27FC236}">
                    <a16:creationId xmlns:a16="http://schemas.microsoft.com/office/drawing/2014/main" id="{28C0C6A0-C7D6-D8CB-3574-F1D697189D1D}"/>
                  </a:ext>
                </a:extLst>
              </p:cNvPr>
              <p:cNvGrpSpPr/>
              <p:nvPr/>
            </p:nvGrpSpPr>
            <p:grpSpPr>
              <a:xfrm>
                <a:off x="18827236" y="5906301"/>
                <a:ext cx="910195" cy="291153"/>
                <a:chOff x="18827236" y="5906301"/>
                <a:chExt cx="910195" cy="291153"/>
              </a:xfrm>
              <a:solidFill>
                <a:srgbClr val="0F62FE"/>
              </a:solidFill>
            </p:grpSpPr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02B5997E-B7F2-FED9-A284-E02DF9974B6E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900"/>
                </a:p>
              </p:txBody>
            </p:sp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F42F19BE-2813-D96A-A013-7F383BAC1DBF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900"/>
                </a:p>
              </p:txBody>
            </p:sp>
          </p:grpSp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F5416425-C1CF-E64F-F937-86C7D3C1AC76}"/>
                </a:ext>
              </a:extLst>
            </p:cNvPr>
            <p:cNvSpPr/>
            <p:nvPr/>
          </p:nvSpPr>
          <p:spPr bwMode="auto">
            <a:xfrm>
              <a:off x="16137165" y="9556509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32" name="Footer Placeholder 1">
            <a:extLst>
              <a:ext uri="{FF2B5EF4-FFF2-40B4-BE49-F238E27FC236}">
                <a16:creationId xmlns:a16="http://schemas.microsoft.com/office/drawing/2014/main" id="{CFB8F54E-D02B-B808-A8D0-C3C3930BB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8023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 illustration 2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74EAC21-8107-D434-5364-2B1179E9302A}"/>
              </a:ext>
            </a:extLst>
          </p:cNvPr>
          <p:cNvGrpSpPr/>
          <p:nvPr userDrawn="1"/>
        </p:nvGrpSpPr>
        <p:grpSpPr>
          <a:xfrm>
            <a:off x="7673658" y="782413"/>
            <a:ext cx="4231042" cy="5293175"/>
            <a:chOff x="15349314" y="2961244"/>
            <a:chExt cx="6905829" cy="863829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91CFAF2-84BC-7F20-45AE-AFEFC8E637A5}"/>
                </a:ext>
              </a:extLst>
            </p:cNvPr>
            <p:cNvGrpSpPr/>
            <p:nvPr/>
          </p:nvGrpSpPr>
          <p:grpSpPr>
            <a:xfrm>
              <a:off x="15349314" y="8148533"/>
              <a:ext cx="1733550" cy="1740213"/>
              <a:chOff x="15349314" y="8148533"/>
              <a:chExt cx="1733550" cy="1740213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1AA168D-5BD9-B664-71E2-7744E8031929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87635614-5C0E-9F3D-4BF5-A6C631BA86B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20CAF18-9186-DE49-A85A-DCBCAFDEB72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099D6F34-9797-3B94-2511-A50E798A64D7}"/>
                </a:ext>
              </a:extLst>
            </p:cNvPr>
            <p:cNvSpPr/>
            <p:nvPr/>
          </p:nvSpPr>
          <p:spPr bwMode="auto">
            <a:xfrm rot="10800000">
              <a:off x="17073339" y="8156150"/>
              <a:ext cx="1714706" cy="1714706"/>
            </a:xfrm>
            <a:prstGeom prst="chevron">
              <a:avLst/>
            </a:prstGeom>
            <a:solidFill>
              <a:schemeClr val="accent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D2CDA0EB-EDC3-60F7-6A0C-10AEBA48A7CD}"/>
                </a:ext>
              </a:extLst>
            </p:cNvPr>
            <p:cNvSpPr/>
            <p:nvPr/>
          </p:nvSpPr>
          <p:spPr bwMode="auto">
            <a:xfrm rot="16200000">
              <a:off x="17933124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09F49286-A14C-94F0-4FD3-65BA1B0A0564}"/>
                </a:ext>
              </a:extLst>
            </p:cNvPr>
            <p:cNvSpPr/>
            <p:nvPr/>
          </p:nvSpPr>
          <p:spPr bwMode="auto">
            <a:xfrm rot="16200000">
              <a:off x="19666673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0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5" name="Graphic 10">
              <a:extLst>
                <a:ext uri="{FF2B5EF4-FFF2-40B4-BE49-F238E27FC236}">
                  <a16:creationId xmlns:a16="http://schemas.microsoft.com/office/drawing/2014/main" id="{2F5E9458-0EE8-FDEF-2B7B-282F6908251B}"/>
                </a:ext>
              </a:extLst>
            </p:cNvPr>
            <p:cNvSpPr/>
            <p:nvPr/>
          </p:nvSpPr>
          <p:spPr>
            <a:xfrm>
              <a:off x="21393114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6" name="Graphic 10">
              <a:extLst>
                <a:ext uri="{FF2B5EF4-FFF2-40B4-BE49-F238E27FC236}">
                  <a16:creationId xmlns:a16="http://schemas.microsoft.com/office/drawing/2014/main" id="{A63BD186-B314-C0A9-BEE8-C38F637367A0}"/>
                </a:ext>
              </a:extLst>
            </p:cNvPr>
            <p:cNvSpPr/>
            <p:nvPr/>
          </p:nvSpPr>
          <p:spPr>
            <a:xfrm>
              <a:off x="20531120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sp>
          <p:nvSpPr>
            <p:cNvPr id="37" name="Freeform 94">
              <a:extLst>
                <a:ext uri="{FF2B5EF4-FFF2-40B4-BE49-F238E27FC236}">
                  <a16:creationId xmlns:a16="http://schemas.microsoft.com/office/drawing/2014/main" id="{AF95DBD1-3F5E-0F81-A667-6AC8B287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88045" y="2961244"/>
              <a:ext cx="3443392" cy="3443392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900"/>
            </a:p>
          </p:txBody>
        </p:sp>
        <p:sp>
          <p:nvSpPr>
            <p:cNvPr id="38" name="Graphic 15">
              <a:extLst>
                <a:ext uri="{FF2B5EF4-FFF2-40B4-BE49-F238E27FC236}">
                  <a16:creationId xmlns:a16="http://schemas.microsoft.com/office/drawing/2014/main" id="{3233263B-DC50-DFD6-1555-951BB05565CD}"/>
                </a:ext>
              </a:extLst>
            </p:cNvPr>
            <p:cNvSpPr/>
            <p:nvPr/>
          </p:nvSpPr>
          <p:spPr>
            <a:xfrm>
              <a:off x="18795178" y="6419190"/>
              <a:ext cx="1733550" cy="1733550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C31CA7A0-E1EA-CC28-464A-48C141E3A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0" cy="582871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9BCAF19F-1CE8-B5CA-60ED-FA856519E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2515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3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1549E4-DE64-84A7-B380-3A8726804912}"/>
              </a:ext>
            </a:extLst>
          </p:cNvPr>
          <p:cNvGrpSpPr/>
          <p:nvPr userDrawn="1"/>
        </p:nvGrpSpPr>
        <p:grpSpPr>
          <a:xfrm>
            <a:off x="7614246" y="566935"/>
            <a:ext cx="4286486" cy="5724130"/>
            <a:chOff x="9040276" y="4321637"/>
            <a:chExt cx="4881191" cy="651744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05B46A4-470E-76F3-D85F-4ADF7C970EF3}"/>
                </a:ext>
              </a:extLst>
            </p:cNvPr>
            <p:cNvGrpSpPr/>
            <p:nvPr/>
          </p:nvGrpSpPr>
          <p:grpSpPr>
            <a:xfrm>
              <a:off x="10564253" y="4321637"/>
              <a:ext cx="3195289" cy="3207570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1F28622-E9D5-B245-0CE7-B8F4DA51DB43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86D64841-0D08-B7D0-1F60-CE3B7FB86FAB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7EF55BC-A1AE-39AC-069B-DD57829B8B1C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sp>
          <p:nvSpPr>
            <p:cNvPr id="7" name="Freeform 94">
              <a:extLst>
                <a:ext uri="{FF2B5EF4-FFF2-40B4-BE49-F238E27FC236}">
                  <a16:creationId xmlns:a16="http://schemas.microsoft.com/office/drawing/2014/main" id="{ABEB5656-74F4-9FD9-DC66-2BEC97095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46131" y="8963746"/>
              <a:ext cx="1875336" cy="1875336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90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2AEBA3D-2E1E-3CD0-6047-AD29970D8269}"/>
                </a:ext>
              </a:extLst>
            </p:cNvPr>
            <p:cNvGrpSpPr/>
            <p:nvPr/>
          </p:nvGrpSpPr>
          <p:grpSpPr>
            <a:xfrm>
              <a:off x="10549225" y="7534105"/>
              <a:ext cx="1611649" cy="1600628"/>
              <a:chOff x="18788045" y="8156151"/>
              <a:chExt cx="3467098" cy="3443391"/>
            </a:xfrm>
          </p:grpSpPr>
          <p:sp>
            <p:nvSpPr>
              <p:cNvPr id="10" name="Isosceles Triangle 9">
                <a:extLst>
                  <a:ext uri="{FF2B5EF4-FFF2-40B4-BE49-F238E27FC236}">
                    <a16:creationId xmlns:a16="http://schemas.microsoft.com/office/drawing/2014/main" id="{30B024AE-924C-5013-BFC4-A23193344D38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0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1" name="Isosceles Triangle 10">
                <a:extLst>
                  <a:ext uri="{FF2B5EF4-FFF2-40B4-BE49-F238E27FC236}">
                    <a16:creationId xmlns:a16="http://schemas.microsoft.com/office/drawing/2014/main" id="{CC621DE7-0C86-3370-8254-DCA20D2B66DF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0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4FD813B-98FF-5D22-79E3-E42156204806}"/>
                </a:ext>
              </a:extLst>
            </p:cNvPr>
            <p:cNvSpPr/>
            <p:nvPr/>
          </p:nvSpPr>
          <p:spPr>
            <a:xfrm>
              <a:off x="9040276" y="7421599"/>
              <a:ext cx="1304613" cy="176685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97DADEA-7960-658B-3101-5BFD1C18F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0" cy="582871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9BF57657-A79F-9678-6440-F135F005ED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6833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4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842CBF4-D34E-F8F5-CD06-504A7FCC7FB3}"/>
              </a:ext>
            </a:extLst>
          </p:cNvPr>
          <p:cNvGrpSpPr/>
          <p:nvPr userDrawn="1"/>
        </p:nvGrpSpPr>
        <p:grpSpPr>
          <a:xfrm>
            <a:off x="7634564" y="308329"/>
            <a:ext cx="4259863" cy="5655323"/>
            <a:chOff x="14749847" y="1666875"/>
            <a:chExt cx="7545926" cy="1001654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28DD47C-6174-1B6C-4A95-602C8EDC721E}"/>
                </a:ext>
              </a:extLst>
            </p:cNvPr>
            <p:cNvGrpSpPr/>
            <p:nvPr/>
          </p:nvGrpSpPr>
          <p:grpSpPr>
            <a:xfrm>
              <a:off x="19717931" y="9127539"/>
              <a:ext cx="2546091" cy="2555876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4FE2C1B-881E-7856-4164-5F06D6DC55ED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D29AD949-F11A-7C8A-6395-2EC579256AC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B49D26A-FD55-E510-C95A-E32ACF10610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D9DD949-0249-15C7-2C46-BE1015E920BB}"/>
                </a:ext>
              </a:extLst>
            </p:cNvPr>
            <p:cNvGrpSpPr/>
            <p:nvPr/>
          </p:nvGrpSpPr>
          <p:grpSpPr>
            <a:xfrm rot="10800000">
              <a:off x="14749848" y="6719847"/>
              <a:ext cx="2620076" cy="2602159"/>
              <a:chOff x="18788045" y="8156151"/>
              <a:chExt cx="3467098" cy="3443391"/>
            </a:xfrm>
          </p:grpSpPr>
          <p:sp>
            <p:nvSpPr>
              <p:cNvPr id="22" name="Isosceles Triangle 21">
                <a:extLst>
                  <a:ext uri="{FF2B5EF4-FFF2-40B4-BE49-F238E27FC236}">
                    <a16:creationId xmlns:a16="http://schemas.microsoft.com/office/drawing/2014/main" id="{81D9A5C7-1D52-6021-6E37-4CD55B8EBBF6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0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id="{264AAA91-6C82-F47A-5662-0182FD625908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0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A1680-FB4E-20EE-F642-535BDD139323}"/>
                </a:ext>
              </a:extLst>
            </p:cNvPr>
            <p:cNvSpPr/>
            <p:nvPr/>
          </p:nvSpPr>
          <p:spPr>
            <a:xfrm>
              <a:off x="17590432" y="6715973"/>
              <a:ext cx="1921392" cy="260216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DB77AB-31CA-9393-C250-D21C90AD747D}"/>
                </a:ext>
              </a:extLst>
            </p:cNvPr>
            <p:cNvGrpSpPr/>
            <p:nvPr/>
          </p:nvGrpSpPr>
          <p:grpSpPr>
            <a:xfrm>
              <a:off x="21004440" y="5488292"/>
              <a:ext cx="1224656" cy="1224655"/>
              <a:chOff x="18495170" y="1113633"/>
              <a:chExt cx="1724061" cy="1724059"/>
            </a:xfrm>
          </p:grpSpPr>
          <p:sp>
            <p:nvSpPr>
              <p:cNvPr id="20" name="Graphic 10">
                <a:extLst>
                  <a:ext uri="{FF2B5EF4-FFF2-40B4-BE49-F238E27FC236}">
                    <a16:creationId xmlns:a16="http://schemas.microsoft.com/office/drawing/2014/main" id="{968278EA-EC7A-C8C1-3D03-67D9517A8E97}"/>
                  </a:ext>
                </a:extLst>
              </p:cNvPr>
              <p:cNvSpPr/>
              <p:nvPr/>
            </p:nvSpPr>
            <p:spPr>
              <a:xfrm rot="16200000">
                <a:off x="18926187" y="68261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  <p:sp>
            <p:nvSpPr>
              <p:cNvPr id="21" name="Graphic 10">
                <a:extLst>
                  <a:ext uri="{FF2B5EF4-FFF2-40B4-BE49-F238E27FC236}">
                    <a16:creationId xmlns:a16="http://schemas.microsoft.com/office/drawing/2014/main" id="{711F2D4E-580F-FDDA-13E8-7599C186951B}"/>
                  </a:ext>
                </a:extLst>
              </p:cNvPr>
              <p:cNvSpPr/>
              <p:nvPr/>
            </p:nvSpPr>
            <p:spPr>
              <a:xfrm rot="5400000">
                <a:off x="18926184" y="154464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900"/>
              </a:p>
            </p:txBody>
          </p:sp>
        </p:grp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03FD4805-C8F0-157A-12EA-E29BF4A6A821}"/>
                </a:ext>
              </a:extLst>
            </p:cNvPr>
            <p:cNvSpPr/>
            <p:nvPr/>
          </p:nvSpPr>
          <p:spPr>
            <a:xfrm>
              <a:off x="19740689" y="4229100"/>
              <a:ext cx="1252842" cy="1252842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900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DCD6226-1598-8CFE-EF19-AD0C32E0FDE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008453" y="1685924"/>
              <a:ext cx="2287320" cy="2555875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2CB82D3E-CDAB-D340-8580-67407B62D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D12FCC87-977D-C8B5-0919-DE4EDDEBE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1FDE1929-28B7-E247-352F-54FD169CB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B0AF65F2-B143-C431-046C-D634071690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51680746-1BA1-4C9F-89B2-982AB1403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7B8460C3-DF07-EEAA-6C0E-7D8F3CE54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 descr="A group of people using laptops&#10;&#10;Description automatically generated">
              <a:extLst>
                <a:ext uri="{FF2B5EF4-FFF2-40B4-BE49-F238E27FC236}">
                  <a16:creationId xmlns:a16="http://schemas.microsoft.com/office/drawing/2014/main" id="{CE1E3EAD-CD89-D4C3-F656-DB3CF66C54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3646" b="4147"/>
            <a:stretch/>
          </p:blipFill>
          <p:spPr>
            <a:xfrm>
              <a:off x="14749847" y="1666875"/>
              <a:ext cx="4998865" cy="5044326"/>
            </a:xfrm>
            <a:prstGeom prst="rect">
              <a:avLst/>
            </a:prstGeom>
          </p:spPr>
        </p:pic>
        <p:pic>
          <p:nvPicPr>
            <p:cNvPr id="13" name="Picture 12" descr="A person wearing glasses and a lanyard&#10;&#10;Description automatically generated">
              <a:extLst>
                <a:ext uri="{FF2B5EF4-FFF2-40B4-BE49-F238E27FC236}">
                  <a16:creationId xmlns:a16="http://schemas.microsoft.com/office/drawing/2014/main" id="{8993B2AB-27BA-285B-936D-B8B136531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746297" y="6710404"/>
              <a:ext cx="2489359" cy="2410785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948DA9FB-7A60-03A2-30BF-33D137653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8" y="169655"/>
            <a:ext cx="5545750" cy="582871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CEE20336-CC8B-ADA8-185C-AE9487260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604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67748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4BC1643-59D2-ABAC-0528-D7DF78C1B8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031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993671-0ACB-A41F-EB8D-C4B133D4A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008" y="838200"/>
            <a:ext cx="9143603" cy="2308225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F114BFC-17E3-BD51-B7D5-36F2A7EEEC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2636" y="3429000"/>
            <a:ext cx="9147427" cy="2527909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044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2F951-674D-A629-8F1F-8EF9A721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7" y="838200"/>
            <a:ext cx="11611845" cy="2308225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5210FE1-708F-5D01-65BE-B09B012659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3429000"/>
            <a:ext cx="11616701" cy="2527909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732D4F4-442B-9B8D-60D6-9CD8D60E6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3866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905402"/>
      </p:ext>
    </p:extLst>
  </p:cSld>
  <p:clrMapOvr>
    <a:masterClrMapping/>
  </p:clrMapOvr>
  <p:transition spd="med"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big text, bottom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D2AC99-2CAD-9FF7-4F8C-C01790911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6" y="160295"/>
            <a:ext cx="8569797" cy="3268705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4FCB43A-01A2-2558-5780-F4751C87B6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286251"/>
            <a:ext cx="5522193" cy="171211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98D6CE8-F26C-9046-1DD1-CAFCF16F1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3774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cyan+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DF3BA29-E81F-2784-6F22-55C9D69D735C}"/>
              </a:ext>
            </a:extLst>
          </p:cNvPr>
          <p:cNvSpPr>
            <a:spLocks/>
          </p:cNvSpPr>
          <p:nvPr userDrawn="1"/>
        </p:nvSpPr>
        <p:spPr bwMode="auto">
          <a:xfrm>
            <a:off x="0" y="-1"/>
            <a:ext cx="3047604" cy="6858001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463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8"/>
            <a:ext cx="2473891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2492678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2282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white+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8"/>
            <a:ext cx="2473891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2492678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BE503C-A69C-5EFC-BA7A-97308B436F87}"/>
              </a:ext>
            </a:extLst>
          </p:cNvPr>
          <p:cNvSpPr/>
          <p:nvPr userDrawn="1"/>
        </p:nvSpPr>
        <p:spPr bwMode="auto">
          <a:xfrm>
            <a:off x="3047603" y="0"/>
            <a:ext cx="9144397" cy="6858001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463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35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heading,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11631520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70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E1F66A6-2402-265D-0101-B6536490AFAC}"/>
              </a:ext>
            </a:extLst>
          </p:cNvPr>
          <p:cNvSpPr>
            <a:spLocks/>
          </p:cNvSpPr>
          <p:nvPr userDrawn="1"/>
        </p:nvSpPr>
        <p:spPr bwMode="auto">
          <a:xfrm>
            <a:off x="6095206" y="0"/>
            <a:ext cx="6096794" cy="6858001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463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16610E-CC1C-9D9D-DB96-DEDE65B2F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9EE314B-511F-9A49-0794-209E594425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80031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9494A4E-96C8-934A-2BEF-CA4D3BB18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5542757" cy="984629"/>
          </a:xfrm>
        </p:spPr>
        <p:txBody>
          <a:bodyPr rIns="457200">
            <a:spAutoFit/>
          </a:bodyPr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5665D22-4DC3-21E1-0450-1EE2C28B9B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80126" y="191938"/>
            <a:ext cx="5542828" cy="492919"/>
          </a:xfrm>
          <a:ln>
            <a:noFill/>
          </a:ln>
        </p:spPr>
        <p:txBody>
          <a:bodyPr/>
          <a:lstStyle>
            <a:lvl1pPr>
              <a:defRPr lang="en-US" sz="3199" b="0" i="0" u="none" strike="noStrike" cap="none" spc="0" baseline="0" dirty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AE8B7DB9-996A-C58F-4CBB-E199A8CCE1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3459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232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2501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2960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232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2501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296009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111CE7A-DCC6-C6F9-EFAF-A6237664B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0538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3A9828E-59C5-8F35-8188-B2E56BD7E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6833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7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4CC2ED5C-4106-4DAB-0D25-FB50E33CA4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048001"/>
            <a:ext cx="6096001" cy="304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02F5B7-9038-3AE2-621E-A2E9A1929D4A}"/>
              </a:ext>
            </a:extLst>
          </p:cNvPr>
          <p:cNvSpPr/>
          <p:nvPr userDrawn="1"/>
        </p:nvSpPr>
        <p:spPr bwMode="auto">
          <a:xfrm>
            <a:off x="6096000" y="0"/>
            <a:ext cx="3047603" cy="3048000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8926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9143603" y="3048000"/>
            <a:ext cx="3047603" cy="304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8926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429001"/>
            <a:ext cx="2474590" cy="2373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160B3E-5D79-4A62-FCA2-1B484BEE3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0473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6096001" y="2571750"/>
            <a:ext cx="6095205" cy="3453912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8926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048001"/>
            <a:ext cx="5519813" cy="2754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E7CC6F1F-41E2-5A91-1CE7-497492742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427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CEECD73-1869-3DB0-AA71-BA427640113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20768"/>
      </p:ext>
    </p:extLst>
  </p:cSld>
  <p:clrMapOvr>
    <a:masterClrMapping/>
  </p:clrMapOvr>
  <p:transition spd="med"/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D84389E-2F2D-9416-2656-943C7107E99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53157" y="2981575"/>
            <a:ext cx="2742843" cy="27432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76203F-C24F-2617-30C6-D86779E1B495}"/>
              </a:ext>
            </a:extLst>
          </p:cNvPr>
          <p:cNvSpPr/>
          <p:nvPr userDrawn="1"/>
        </p:nvSpPr>
        <p:spPr bwMode="auto">
          <a:xfrm>
            <a:off x="6093972" y="2981575"/>
            <a:ext cx="6097235" cy="27432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8926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393849"/>
            <a:ext cx="5519813" cy="1749652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378BCC9-F931-23B3-1F50-B47B00613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5903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82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7142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36370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8227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875702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28424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900956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27890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982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A93FA21-98DA-3561-FD14-50692666FC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876940"/>
      </p:ext>
    </p:extLst>
  </p:cSld>
  <p:clrMapOvr>
    <a:masterClrMapping/>
  </p:clrMapOvr>
  <p:transition spd="med"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432674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20332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180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47183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88489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581595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087385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7741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130756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7830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11DFC12-54ED-8E73-A577-4D116BC8F2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544416"/>
      </p:ext>
    </p:extLst>
  </p:cSld>
  <p:clrMapOvr>
    <a:masterClrMapping/>
  </p:clrMapOvr>
  <p:transition spd="med"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7600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28705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54732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164098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668446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780211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40972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125457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97722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21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 marL="292549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2pPr>
            <a:lvl3pPr marL="548530" indent="-292549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3pPr>
            <a:lvl4pPr marL="877648"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6CE11F6-5931-0BC2-B481-D0DC79902FF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18333"/>
      </p:ext>
    </p:extLst>
  </p:cSld>
  <p:clrMapOvr>
    <a:masterClrMapping/>
  </p:clrMapOvr>
  <p:transition spd="med"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321104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34157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1907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282087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12726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51189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618201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965137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027661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63862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43170"/>
      </p:ext>
    </p:extLst>
  </p:cSld>
  <p:clrMapOvr>
    <a:masterClrMapping/>
  </p:clrMapOvr>
  <p:transition spd="med"/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69292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253396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385946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51340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73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10" y="288036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1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333298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13640"/>
      </p:ext>
    </p:extLst>
  </p:cSld>
  <p:clrMapOvr>
    <a:masterClrMapping/>
  </p:clrMapOvr>
  <p:transition spd="med"/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8" indent="0" algn="ctr">
              <a:buNone/>
              <a:defRPr sz="2000"/>
            </a:lvl2pPr>
            <a:lvl3pPr marL="914131" indent="0" algn="ctr">
              <a:buNone/>
              <a:defRPr sz="1800"/>
            </a:lvl3pPr>
            <a:lvl4pPr marL="1371199" indent="0" algn="ctr">
              <a:buNone/>
              <a:defRPr sz="1600"/>
            </a:lvl4pPr>
            <a:lvl5pPr marL="1828265" indent="0" algn="ctr">
              <a:buNone/>
              <a:defRPr sz="1600"/>
            </a:lvl5pPr>
            <a:lvl6pPr marL="2285331" indent="0" algn="ctr">
              <a:buNone/>
              <a:defRPr sz="1600"/>
            </a:lvl6pPr>
            <a:lvl7pPr marL="2742398" indent="0" algn="ctr">
              <a:buNone/>
              <a:defRPr sz="1600"/>
            </a:lvl7pPr>
            <a:lvl8pPr marL="3199464" indent="0" algn="ctr">
              <a:buNone/>
              <a:defRPr sz="1600"/>
            </a:lvl8pPr>
            <a:lvl9pPr marL="365653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9258DE-8CE3-434B-8683-A5410EA45F82}" type="datetimeFigureOut">
              <a:rPr lang="en-US" smtClean="0"/>
              <a:t>6/2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A108D-CD55-BF4C-A2F5-A4F46BAEC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0350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ype">
    <p:bg>
      <p:bgPr>
        <a:solidFill>
          <a:srgbClr val="1509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5791200" cy="4060952"/>
          </a:xfrm>
        </p:spPr>
        <p:txBody>
          <a:bodyPr>
            <a:noAutofit/>
          </a:bodyPr>
          <a:lstStyle>
            <a:lvl1pPr>
              <a:defRPr sz="4267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IBM 2018 / DOC ID / Dat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067">
                <a:solidFill>
                  <a:schemeClr val="bg1"/>
                </a:solidFill>
              </a:defRPr>
            </a:lvl1pPr>
          </a:lstStyle>
          <a:p>
            <a:fld id="{FB965B15-02FA-E14B-9B48-D2570EE110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26223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265759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1643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8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272595"/>
      </p:ext>
    </p:extLst>
  </p:cSld>
  <p:clrMapOvr>
    <a:masterClrMapping/>
  </p:clrMapOvr>
  <p:transition spd="med"/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657548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71419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29758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88046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581233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58368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478852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56502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236917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5456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7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3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511935"/>
      </p:ext>
    </p:extLst>
  </p:cSld>
  <p:clrMapOvr>
    <a:masterClrMapping/>
  </p:clrMapOvr>
  <p:transition spd="med"/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51126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740036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35566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118252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5892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510540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88814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231257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554074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570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171042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1pPr>
            <a:lvl2pPr marL="393113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2pPr>
            <a:lvl3pPr marL="749658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3pPr>
            <a:lvl4pPr marL="1142771" indent="-393113"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400383"/>
      </p:ext>
    </p:extLst>
  </p:cSld>
  <p:clrMapOvr>
    <a:masterClrMapping/>
  </p:clrMapOvr>
  <p:transition spd="med"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31754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162086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96899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192968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7530994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78388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99352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8033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043300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44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9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426053"/>
      </p:ext>
    </p:extLst>
  </p:cSld>
  <p:clrMapOvr>
    <a:masterClrMapping/>
  </p:clrMapOvr>
  <p:transition spd="med"/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89711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467537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481730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881535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403102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1723841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48963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1439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71591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7746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113455"/>
      </p:ext>
    </p:extLst>
  </p:cSld>
  <p:clrMapOvr>
    <a:masterClrMapping/>
  </p:clrMapOvr>
  <p:transition spd="med"/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317410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608348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60334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2" y="611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34048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2" y="613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494860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324135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035793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3" y="613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87070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3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5" y="6273674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39673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110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919482"/>
      </p:ext>
    </p:extLst>
  </p:cSld>
  <p:clrMapOvr>
    <a:masterClrMapping/>
  </p:clrMapOvr>
  <p:transition spd="med"/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570" indent="0">
              <a:buNone/>
              <a:defRPr/>
            </a:lvl3pPr>
            <a:lvl4pPr marL="434883" indent="0">
              <a:buNone/>
              <a:defRPr/>
            </a:lvl4pPr>
            <a:lvl5pPr marL="6316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570" indent="0">
              <a:buNone/>
              <a:defRPr/>
            </a:lvl3pPr>
            <a:lvl4pPr marL="434883" indent="0">
              <a:buNone/>
              <a:defRPr/>
            </a:lvl4pPr>
            <a:lvl5pPr marL="6316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342558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9598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905527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9598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166534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4" y="121920"/>
            <a:ext cx="11704229" cy="5872480"/>
          </a:xfrm>
        </p:spPr>
        <p:txBody>
          <a:bodyPr/>
          <a:lstStyle>
            <a:lvl1pPr>
              <a:defRPr sz="9598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18440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2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739360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956586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2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73160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643233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41202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56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873760"/>
      </p:ext>
    </p:extLst>
  </p:cSld>
  <p:clrMapOvr>
    <a:masterClrMapping/>
  </p:clrMapOvr>
  <p:transition spd="med"/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931102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567708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78674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2226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60465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9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21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369418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9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4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2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70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33114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4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479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5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5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90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51877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848975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075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222710"/>
      </p:ext>
    </p:extLst>
  </p:cSld>
  <p:clrMapOvr>
    <a:masterClrMapping/>
  </p:clrMapOvr>
  <p:transition spd="med"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9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9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9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411074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22548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45961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290006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427348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10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294955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66934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189208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570" indent="0">
              <a:buNone/>
              <a:defRPr/>
            </a:lvl3pPr>
            <a:lvl4pPr marL="434883" indent="0">
              <a:buNone/>
              <a:defRPr/>
            </a:lvl4pPr>
            <a:lvl5pPr marL="6316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265256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2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1069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895625"/>
      </p:ext>
    </p:extLst>
  </p:cSld>
  <p:clrMapOvr>
    <a:masterClrMapping/>
  </p:clrMapOvr>
  <p:transition spd="med"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3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030933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2" y="3083849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34375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 flip="none" rotWithShape="1">
          <a:gsLst>
            <a:gs pos="0">
              <a:srgbClr val="0191FF"/>
            </a:gs>
            <a:gs pos="100000">
              <a:srgbClr val="00569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31333"/>
              </p:ext>
            </p:extLst>
          </p:nvPr>
        </p:nvGraphicFramePr>
        <p:xfrm>
          <a:off x="1591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3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74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5" y="2681106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5" y="3934617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6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678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3A6105-73A2-644D-A823-16402C2853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502" y="603255"/>
            <a:ext cx="11017251" cy="1492251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" name="TextShape 3">
            <a:extLst>
              <a:ext uri="{FF2B5EF4-FFF2-40B4-BE49-F238E27FC236}">
                <a16:creationId xmlns:a16="http://schemas.microsoft.com/office/drawing/2014/main" id="{139E43E0-A7E6-7B40-A3E1-10EA91E1C436}"/>
              </a:ext>
            </a:extLst>
          </p:cNvPr>
          <p:cNvSpPr txBox="1"/>
          <p:nvPr userDrawn="1"/>
        </p:nvSpPr>
        <p:spPr>
          <a:xfrm>
            <a:off x="11388084" y="6589200"/>
            <a:ext cx="496800" cy="1734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0" marR="0" lvl="0" indent="0" algn="r" defTabSz="685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2DBA7F-7AF1-4653-962E-8B7F153386A0}" type="slidenum">
              <a:rPr kumimoji="0" lang="en-US" sz="500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6856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7890051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189" y="318759"/>
            <a:ext cx="10922000" cy="1030817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8189" y="1430024"/>
            <a:ext cx="10922000" cy="4497917"/>
          </a:xfrm>
        </p:spPr>
        <p:txBody>
          <a:bodyPr/>
          <a:lstStyle>
            <a:lvl1pPr marL="128559" indent="-128559">
              <a:buFont typeface="Wingdings" charset="2"/>
              <a:buChar char="§"/>
              <a:defRPr sz="135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5170648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51723"/>
      </p:ext>
    </p:extLst>
  </p:cSld>
  <p:clrMapOvr>
    <a:masterClrMapping/>
  </p:clrMapOvr>
  <p:transition spd="med"/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4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6" y="6042370"/>
            <a:ext cx="2468622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554036"/>
      </p:ext>
    </p:extLst>
  </p:cSld>
  <p:clrMapOvr>
    <a:masterClrMapping/>
  </p:clrMapOvr>
  <p:transition spd="med"/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960659"/>
      </p:ext>
    </p:extLst>
  </p:cSld>
  <p:clrMapOvr>
    <a:masterClrMapping/>
  </p:clrMapOvr>
  <p:transition spd="med"/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9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35945"/>
      </p:ext>
    </p:extLst>
  </p:cSld>
  <p:clrMapOvr>
    <a:masterClrMapping/>
  </p:clrMapOvr>
  <p:transition spd="med"/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74490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742908"/>
      </p:ext>
    </p:extLst>
  </p:cSld>
  <p:clrMapOvr>
    <a:masterClrMapping/>
  </p:clrMapOvr>
  <p:transition spd="med"/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8036"/>
            <a:ext cx="5049180" cy="285750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45738"/>
      </p:ext>
    </p:extLst>
  </p:cSld>
  <p:clrMapOvr>
    <a:masterClrMapping/>
  </p:clrMapOvr>
  <p:transition spd="med"/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375451"/>
      </p:ext>
    </p:extLst>
  </p:cSld>
  <p:clrMapOvr>
    <a:masterClrMapping/>
  </p:clrMapOvr>
  <p:transition spd="med"/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852014"/>
      </p:ext>
    </p:extLst>
  </p:cSld>
  <p:clrMapOvr>
    <a:masterClrMapping/>
  </p:clrMapOvr>
  <p:transition spd="med"/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10312"/>
            <a:ext cx="8569797" cy="4095750"/>
          </a:xfrm>
        </p:spPr>
        <p:txBody>
          <a:bodyPr/>
          <a:lstStyle>
            <a:lvl1pPr>
              <a:defRPr sz="8596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788761"/>
      </p:ext>
    </p:extLst>
  </p:cSld>
  <p:clrMapOvr>
    <a:masterClrMapping/>
  </p:clrMapOvr>
  <p:transition spd="med"/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2795" y="224028"/>
            <a:ext cx="5520318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 marL="29249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2pPr>
            <a:lvl3pPr marL="548420" indent="-292490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3pPr>
            <a:lvl4pPr marL="877472"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135909"/>
      </p:ext>
    </p:extLst>
  </p:cSld>
  <p:clrMapOvr>
    <a:masterClrMapping/>
  </p:clrMapOvr>
  <p:transition spd="med"/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10312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291829"/>
      </p:ext>
    </p:extLst>
  </p:cSld>
  <p:clrMapOvr>
    <a:masterClrMapping/>
  </p:clrMapOvr>
  <p:transition spd="med"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99" y="4649724"/>
            <a:ext cx="5524575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20" y="4648200"/>
            <a:ext cx="5523781" cy="17716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894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88036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293253"/>
      </p:ext>
    </p:extLst>
  </p:cSld>
  <p:clrMapOvr>
    <a:masterClrMapping/>
  </p:clrMapOvr>
  <p:transition spd="med"/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0" cy="95329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8"/>
            <a:ext cx="2474590" cy="951707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4884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7328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4"/>
            <a:ext cx="2476178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338817"/>
      </p:ext>
    </p:extLst>
  </p:cSld>
  <p:clrMapOvr>
    <a:masterClrMapping/>
  </p:clrMapOvr>
  <p:transition spd="med"/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201168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8"/>
            <a:ext cx="5523781" cy="266779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8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1pPr>
            <a:lvl2pPr marL="393034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2pPr>
            <a:lvl3pPr marL="749508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3pPr>
            <a:lvl4pPr marL="1142542" indent="-393034"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874156"/>
      </p:ext>
    </p:extLst>
  </p:cSld>
  <p:clrMapOvr>
    <a:masterClrMapping/>
  </p:clrMapOvr>
  <p:transition spd="med"/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8" y="4201669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498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178847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057386"/>
      </p:ext>
    </p:extLst>
  </p:cSld>
  <p:clrMapOvr>
    <a:masterClrMapping/>
  </p:clrMapOvr>
  <p:transition spd="med"/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923570"/>
      </p:ext>
    </p:extLst>
  </p:cSld>
  <p:clrMapOvr>
    <a:masterClrMapping/>
  </p:clrMapOvr>
  <p:transition spd="med"/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681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802706"/>
      </p:ext>
    </p:extLst>
  </p:cSld>
  <p:clrMapOvr>
    <a:masterClrMapping/>
  </p:clrMapOvr>
  <p:transition spd="med"/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7" y="288036"/>
            <a:ext cx="2477765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680242"/>
      </p:ext>
    </p:extLst>
  </p:cSld>
  <p:clrMapOvr>
    <a:masterClrMapping/>
  </p:clrMapOvr>
  <p:transition spd="med"/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1714500"/>
            <a:ext cx="2477765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185" y="1714500"/>
            <a:ext cx="247073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714500"/>
            <a:ext cx="2476177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6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3" y="288036"/>
            <a:ext cx="607997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867133"/>
      </p:ext>
    </p:extLst>
  </p:cSld>
  <p:clrMapOvr>
    <a:masterClrMapping/>
  </p:clrMapOvr>
  <p:transition spd="med"/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5047593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5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121214"/>
      </p:ext>
    </p:extLst>
  </p:cSld>
  <p:clrMapOvr>
    <a:masterClrMapping/>
  </p:clrMapOvr>
  <p:transition spd="med"/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3711980" cy="95329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5049180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1714500"/>
            <a:ext cx="5047593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730766"/>
      </p:ext>
    </p:extLst>
  </p:cSld>
  <p:clrMapOvr>
    <a:masterClrMapping/>
  </p:clrMapOvr>
  <p:transition spd="med"/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8036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583995"/>
      </p:ext>
    </p:extLst>
  </p:cSld>
  <p:clrMapOvr>
    <a:masterClrMapping/>
  </p:clrMapOvr>
  <p:transition spd="med"/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836912"/>
      </p:ext>
    </p:extLst>
  </p:cSld>
  <p:clrMapOvr>
    <a:masterClrMapping/>
  </p:clrMapOvr>
  <p:transition spd="med"/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714966"/>
      </p:ext>
    </p:extLst>
  </p:cSld>
  <p:clrMapOvr>
    <a:masterClrMapping/>
  </p:clrMapOvr>
  <p:transition spd="med"/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184391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769626"/>
      </p:ext>
    </p:extLst>
  </p:cSld>
  <p:clrMapOvr>
    <a:masterClrMapping/>
  </p:clrMapOvr>
  <p:transition spd="med"/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5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04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06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10" indent="-91404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3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20" y="288037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3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39043"/>
      </p:ext>
    </p:extLst>
  </p:cSld>
  <p:clrMapOvr>
    <a:masterClrMapping/>
  </p:clrMapOvr>
  <p:transition spd="med"/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088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176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560" indent="-20108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520228"/>
      </p:ext>
    </p:extLst>
  </p:cSld>
  <p:clrMapOvr>
    <a:masterClrMapping/>
  </p:clrMapOvr>
  <p:transition spd="med"/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414005"/>
      </p:ext>
    </p:extLst>
  </p:cSld>
  <p:clrMapOvr>
    <a:masterClrMapping/>
  </p:clrMapOvr>
  <p:transition spd="med"/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8000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48420"/>
      </p:ext>
    </p:extLst>
  </p:cSld>
  <p:clrMapOvr>
    <a:masterClrMapping/>
  </p:clrMapOvr>
  <p:transition spd="med"/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270418"/>
      </p:ext>
    </p:extLst>
  </p:cSld>
  <p:clrMapOvr>
    <a:masterClrMapping/>
  </p:clrMapOvr>
  <p:transition spd="med"/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7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2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847480"/>
      </p:ext>
    </p:extLst>
  </p:cSld>
  <p:clrMapOvr>
    <a:masterClrMapping/>
  </p:clrMapOvr>
  <p:transition spd="med"/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819488"/>
      </p:ext>
    </p:extLst>
  </p:cSld>
  <p:clrMapOvr>
    <a:masterClrMapping/>
  </p:clrMapOvr>
  <p:transition spd="med"/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1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684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368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052" indent="-109684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7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4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051710"/>
      </p:ext>
    </p:extLst>
  </p:cSld>
  <p:clrMapOvr>
    <a:masterClrMapping/>
  </p:clrMapOvr>
  <p:transition spd="med"/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507795"/>
      </p:ext>
    </p:extLst>
  </p:cSld>
  <p:clrMapOvr>
    <a:masterClrMapping/>
  </p:clrMapOvr>
  <p:transition spd="med"/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7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72941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7"/>
            <a:ext cx="2474590" cy="5715794"/>
          </a:xfrm>
        </p:spPr>
        <p:txBody>
          <a:bodyPr/>
          <a:lstStyle>
            <a:lvl1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68488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010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392986"/>
      </p:ext>
    </p:extLst>
  </p:cSld>
  <p:clrMapOvr>
    <a:masterClrMapping/>
  </p:clrMapOvr>
  <p:transition spd="med"/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7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537410374"/>
      </p:ext>
    </p:extLst>
  </p:cSld>
  <p:clrMapOvr>
    <a:masterClrMapping/>
  </p:clrMapOvr>
  <p:transition spd="med"/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4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454472719"/>
      </p:ext>
    </p:extLst>
  </p:cSld>
  <p:clrMapOvr>
    <a:masterClrMapping/>
  </p:clrMapOvr>
  <p:transition spd="med"/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7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782661867"/>
      </p:ext>
    </p:extLst>
  </p:cSld>
  <p:clrMapOvr>
    <a:masterClrMapping/>
  </p:clrMapOvr>
  <p:transition spd="med"/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81624240"/>
      </p:ext>
    </p:extLst>
  </p:cSld>
  <p:clrMapOvr>
    <a:masterClrMapping/>
  </p:clrMapOvr>
  <p:transition spd="med"/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5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592577609"/>
      </p:ext>
    </p:extLst>
  </p:cSld>
  <p:clrMapOvr>
    <a:masterClrMapping/>
  </p:clrMapOvr>
  <p:transition spd="med"/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6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6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6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71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0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4" indent="-127964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183996"/>
      </p:ext>
    </p:extLst>
  </p:cSld>
  <p:clrMapOvr>
    <a:masterClrMapping/>
  </p:clrMapOvr>
  <p:transition spd="med"/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093133"/>
      </p:ext>
    </p:extLst>
  </p:cSld>
  <p:clrMapOvr>
    <a:masterClrMapping/>
  </p:clrMapOvr>
  <p:transition spd="med"/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820952"/>
      </p:ext>
    </p:extLst>
  </p:cSld>
  <p:clrMapOvr>
    <a:masterClrMapping/>
  </p:clrMapOvr>
  <p:transition spd="med"/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01331"/>
      </p:ext>
    </p:extLst>
  </p:cSld>
  <p:clrMapOvr>
    <a:masterClrMapping/>
  </p:clrMapOvr>
  <p:transition spd="med"/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8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5" y="6402388"/>
            <a:ext cx="2477765" cy="190500"/>
          </a:xfrm>
        </p:spPr>
        <p:txBody>
          <a:bodyPr/>
          <a:lstStyle/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22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46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368" indent="-73122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20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275546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288036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7" y="1714500"/>
            <a:ext cx="2476178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62764"/>
      </p:ext>
    </p:extLst>
  </p:cSld>
  <p:clrMapOvr>
    <a:masterClrMapping/>
  </p:clrMapOvr>
  <p:transition spd="med"/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05" y="3084231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128066"/>
      </p:ext>
    </p:extLst>
  </p:cSld>
  <p:clrMapOvr>
    <a:masterClrMapping/>
  </p:clrMapOvr>
  <p:transition spd="med"/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BM_Research_011_v2.tif" descr="IBM_Research_011_v2.tif">
            <a:extLst>
              <a:ext uri="{FF2B5EF4-FFF2-40B4-BE49-F238E27FC236}">
                <a16:creationId xmlns:a16="http://schemas.microsoft.com/office/drawing/2014/main" id="{AE48ED79-152A-35DF-833D-FD40927815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0413" cy="6858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38526" y="6263482"/>
            <a:ext cx="819043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48346"/>
      </p:ext>
    </p:extLst>
  </p:cSld>
  <p:clrMapOvr>
    <a:masterClrMapping/>
  </p:clrMapOvr>
  <p:transition spd="med"/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31730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1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098256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123583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352203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8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372671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438051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1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577444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10"/>
            <a:ext cx="12178060" cy="6856778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741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988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30591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491325"/>
      </p:ext>
    </p:extLst>
  </p:cSld>
  <p:clrMapOvr>
    <a:masterClrMapping/>
  </p:clrMapOvr>
  <p:transition spd="med"/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1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3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906012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650AC63A-78AA-176A-400A-2DEB7F85F4CF}"/>
              </a:ext>
            </a:extLst>
          </p:cNvPr>
          <p:cNvSpPr txBox="1">
            <a:spLocks/>
          </p:cNvSpPr>
          <p:nvPr userDrawn="1"/>
        </p:nvSpPr>
        <p:spPr>
          <a:xfrm>
            <a:off x="304891" y="6400801"/>
            <a:ext cx="5170816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IBM Research / Synthetic Data Landscape / Sept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03224422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33" indent="0">
              <a:buNone/>
              <a:defRPr/>
            </a:lvl3pPr>
            <a:lvl4pPr marL="579786" indent="0">
              <a:buNone/>
              <a:defRPr/>
            </a:lvl4pPr>
            <a:lvl5pPr marL="84217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733" indent="0">
              <a:buNone/>
              <a:defRPr/>
            </a:lvl3pPr>
            <a:lvl4pPr marL="579786" indent="0">
              <a:buNone/>
              <a:defRPr/>
            </a:lvl4pPr>
            <a:lvl5pPr marL="84217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65357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9"/>
            <a:ext cx="5510784" cy="1072895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96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850672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9"/>
            <a:ext cx="5510784" cy="1072895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96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537557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796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379692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087457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305714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71F9717D-8F78-038E-4034-3B32FE8B6E7E}"/>
              </a:ext>
            </a:extLst>
          </p:cNvPr>
          <p:cNvSpPr txBox="1">
            <a:spLocks/>
          </p:cNvSpPr>
          <p:nvPr userDrawn="1"/>
        </p:nvSpPr>
        <p:spPr>
          <a:xfrm>
            <a:off x="304891" y="6400801"/>
            <a:ext cx="5170816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+mj-lt"/>
              </a:rPr>
              <a:t>IBM Research / Foundation Models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41395159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5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12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8" y="4192524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28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256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672" indent="-201128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573753"/>
      </p:ext>
    </p:extLst>
  </p:cSld>
  <p:clrMapOvr>
    <a:masterClrMapping/>
  </p:clrMapOvr>
  <p:transition spd="med"/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269070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948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672203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993863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35547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080123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490636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5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6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6885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954141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5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5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2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8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6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7511499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0"/>
          </a:xfrm>
          <a:noFill/>
        </p:spPr>
        <p:txBody>
          <a:bodyPr lIns="182880" tIns="164592" rIns="228600" bIns="228600"/>
          <a:lstStyle>
            <a:lvl1pPr>
              <a:defRPr sz="639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5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5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8603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1681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570706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212252"/>
      </p:ext>
    </p:extLst>
  </p:cSld>
  <p:clrMapOvr>
    <a:masterClrMapping/>
  </p:clrMapOvr>
  <p:transition spd="med"/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152517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64095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607273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1"/>
            <a:ext cx="3048000" cy="6864095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1"/>
            <a:ext cx="3048000" cy="6864095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1"/>
            <a:ext cx="3048000" cy="6864095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1"/>
            <a:ext cx="3048000" cy="6864095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8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7336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52233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825037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6">
                <a:solidFill>
                  <a:schemeClr val="tx1"/>
                </a:solidFill>
              </a:defRPr>
            </a:lvl1pPr>
            <a:lvl2pPr>
              <a:spcBef>
                <a:spcPts val="1466"/>
              </a:spcBef>
              <a:defRPr sz="1866">
                <a:solidFill>
                  <a:schemeClr val="tx1"/>
                </a:solidFill>
              </a:defRPr>
            </a:lvl2pPr>
            <a:lvl3pPr>
              <a:spcBef>
                <a:spcPts val="1466"/>
              </a:spcBef>
              <a:defRPr sz="1866">
                <a:solidFill>
                  <a:schemeClr val="tx1"/>
                </a:solidFill>
              </a:defRPr>
            </a:lvl3pPr>
            <a:lvl4pPr>
              <a:spcBef>
                <a:spcPts val="1466"/>
              </a:spcBef>
              <a:defRPr sz="1866">
                <a:solidFill>
                  <a:schemeClr val="tx1"/>
                </a:solidFill>
              </a:defRPr>
            </a:lvl4pPr>
            <a:lvl5pPr>
              <a:spcBef>
                <a:spcPts val="1466"/>
              </a:spcBef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739298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5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498801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14677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203396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49352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1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4957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4957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88036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037054"/>
      </p:ext>
    </p:extLst>
  </p:cSld>
  <p:clrMapOvr>
    <a:masterClrMapping/>
  </p:clrMapOvr>
  <p:transition spd="med"/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7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733" indent="0">
              <a:buNone/>
              <a:defRPr/>
            </a:lvl3pPr>
            <a:lvl4pPr marL="579786" indent="0">
              <a:buNone/>
              <a:defRPr/>
            </a:lvl4pPr>
            <a:lvl5pPr marL="84217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195573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9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57492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9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4513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6"/>
            <a:ext cx="1730141" cy="69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379973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Two-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3F7D53F-B07F-CC4B-95D6-AD9D24A0892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6341" y="2760135"/>
            <a:ext cx="5613176" cy="3776134"/>
          </a:xfrm>
        </p:spPr>
        <p:txBody>
          <a:bodyPr rIns="871200"/>
          <a:lstStyle>
            <a:lvl1pPr marL="0" indent="0">
              <a:buNone/>
              <a:defRPr sz="1599"/>
            </a:lvl1pPr>
          </a:lstStyle>
          <a:p>
            <a:pPr lvl="0"/>
            <a:r>
              <a:rPr lang="en-US" noProof="0" dirty="0"/>
              <a:t>Click to add media, tables or text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8145D1B0-52C9-B24C-AA8A-AC6FC6DC26B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59381" y="2760134"/>
            <a:ext cx="5625705" cy="3776133"/>
          </a:xfrm>
        </p:spPr>
        <p:txBody>
          <a:bodyPr rIns="871200"/>
          <a:lstStyle>
            <a:lvl1pPr marL="0" indent="0">
              <a:buNone/>
              <a:defRPr sz="1599"/>
            </a:lvl1pPr>
          </a:lstStyle>
          <a:p>
            <a:pPr lvl="0"/>
            <a:r>
              <a:rPr lang="en-US" noProof="0" dirty="0"/>
              <a:t>Click to add media, tables or text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0201BDDE-22C0-DE4D-B2C5-14ABC9095B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821267"/>
            <a:ext cx="8606359" cy="1625599"/>
          </a:xfrm>
        </p:spPr>
        <p:txBody>
          <a:bodyPr/>
          <a:lstStyle>
            <a:lvl1pPr>
              <a:defRPr sz="3732" b="0" i="0">
                <a:latin typeface="IBM Plex Sans Light" panose="020B0403050203000203" pitchFamily="34" charset="0"/>
              </a:defRPr>
            </a:lvl1pPr>
          </a:lstStyle>
          <a:p>
            <a:r>
              <a:rPr lang="en-US" noProof="0"/>
              <a:t>Click to add header he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CCB1883-2022-9548-AC2B-3922B44A1399}"/>
              </a:ext>
            </a:extLst>
          </p:cNvPr>
          <p:cNvCxnSpPr/>
          <p:nvPr userDrawn="1"/>
        </p:nvCxnSpPr>
        <p:spPr bwMode="auto">
          <a:xfrm flipV="1">
            <a:off x="11621996" y="309080"/>
            <a:ext cx="0" cy="240001"/>
          </a:xfrm>
          <a:prstGeom prst="line">
            <a:avLst/>
          </a:prstGeom>
          <a:ln w="9525">
            <a:solidFill>
              <a:srgbClr val="AB2457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6088215-92EF-A64F-ADAD-7011E0CEAC0B}"/>
              </a:ext>
            </a:extLst>
          </p:cNvPr>
          <p:cNvCxnSpPr/>
          <p:nvPr userDrawn="1"/>
        </p:nvCxnSpPr>
        <p:spPr bwMode="auto">
          <a:xfrm flipV="1">
            <a:off x="307109" y="309080"/>
            <a:ext cx="0" cy="240001"/>
          </a:xfrm>
          <a:prstGeom prst="line">
            <a:avLst/>
          </a:prstGeom>
          <a:ln w="9525">
            <a:solidFill>
              <a:srgbClr val="BE2FA8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C195D08-CF1C-B547-955F-9B379C523833}"/>
              </a:ext>
            </a:extLst>
          </p:cNvPr>
          <p:cNvCxnSpPr/>
          <p:nvPr userDrawn="1"/>
        </p:nvCxnSpPr>
        <p:spPr bwMode="auto">
          <a:xfrm flipV="1">
            <a:off x="3128025" y="309080"/>
            <a:ext cx="0" cy="240001"/>
          </a:xfrm>
          <a:prstGeom prst="line">
            <a:avLst/>
          </a:prstGeom>
          <a:ln w="9525">
            <a:solidFill>
              <a:srgbClr val="B62B86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AA1320C-DB77-B240-85FD-C85F7A771E5A}"/>
              </a:ext>
            </a:extLst>
          </p:cNvPr>
          <p:cNvCxnSpPr/>
          <p:nvPr userDrawn="1"/>
        </p:nvCxnSpPr>
        <p:spPr bwMode="auto">
          <a:xfrm flipV="1">
            <a:off x="6096692" y="309080"/>
            <a:ext cx="0" cy="240001"/>
          </a:xfrm>
          <a:prstGeom prst="line">
            <a:avLst/>
          </a:prstGeom>
          <a:ln w="9525">
            <a:solidFill>
              <a:srgbClr val="B12870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2C7D430-AAD3-5D4B-AD01-E03E017B8519}"/>
              </a:ext>
            </a:extLst>
          </p:cNvPr>
          <p:cNvCxnSpPr/>
          <p:nvPr userDrawn="1"/>
        </p:nvCxnSpPr>
        <p:spPr bwMode="auto">
          <a:xfrm flipV="1">
            <a:off x="9075293" y="309080"/>
            <a:ext cx="0" cy="240001"/>
          </a:xfrm>
          <a:prstGeom prst="line">
            <a:avLst/>
          </a:prstGeom>
          <a:ln w="9525">
            <a:solidFill>
              <a:srgbClr val="AB2457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16B523-FF9E-E746-B2E6-A55C5FF143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0403" y="361980"/>
            <a:ext cx="2501399" cy="12311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800" b="0" i="0">
                <a:solidFill>
                  <a:srgbClr val="BE2FA8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de-DE" dirty="0">
                <a:effectLst/>
              </a:rPr>
              <a:t>MIT-IBM Watson AI Lab</a:t>
            </a:r>
            <a:endParaRPr lang="en-US" noProof="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E84F5C-2246-CD49-9EF5-E4E01B3755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91477" y="361979"/>
            <a:ext cx="2654347" cy="12311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800" b="0" i="0">
                <a:solidFill>
                  <a:srgbClr val="B62B86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 noProof="0" dirty="0"/>
              <a:t>Presentation Templ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FF55815-BD48-4144-801C-B8D9F6E3FC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34065" y="361978"/>
            <a:ext cx="2175536" cy="12311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buNone/>
              <a:defRPr sz="800" b="0" i="0">
                <a:solidFill>
                  <a:srgbClr val="B12870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 noProof="0" dirty="0"/>
              <a:t>2020</a:t>
            </a:r>
          </a:p>
        </p:txBody>
      </p:sp>
      <p:sp>
        <p:nvSpPr>
          <p:cNvPr id="33" name="Slide Number Placeholder 1">
            <a:extLst>
              <a:ext uri="{FF2B5EF4-FFF2-40B4-BE49-F238E27FC236}">
                <a16:creationId xmlns:a16="http://schemas.microsoft.com/office/drawing/2014/main" id="{CC474858-0AE9-D247-A313-66EFCE47F13C}"/>
              </a:ext>
            </a:extLst>
          </p:cNvPr>
          <p:cNvSpPr txBox="1">
            <a:spLocks/>
          </p:cNvSpPr>
          <p:nvPr userDrawn="1"/>
        </p:nvSpPr>
        <p:spPr>
          <a:xfrm>
            <a:off x="11624213" y="310415"/>
            <a:ext cx="260873" cy="22891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983" rtl="0" eaLnBrk="1" latinLnBrk="0" hangingPunct="1">
              <a:defRPr sz="600" b="0" i="0" kern="1200">
                <a:solidFill>
                  <a:schemeClr val="accent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FF28302-7426-1140-957E-DB5FD8552A50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5982247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Media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">
            <a:extLst>
              <a:ext uri="{FF2B5EF4-FFF2-40B4-BE49-F238E27FC236}">
                <a16:creationId xmlns:a16="http://schemas.microsoft.com/office/drawing/2014/main" id="{76E4184B-DF7B-AF4B-8EF6-A10521C0B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202" y="452439"/>
            <a:ext cx="8603956" cy="1115482"/>
          </a:xfrm>
        </p:spPr>
        <p:txBody>
          <a:bodyPr/>
          <a:lstStyle>
            <a:lvl1pPr>
              <a:defRPr sz="3198" b="0" i="0">
                <a:latin typeface="IBM Plex Sans Light" panose="020B0403050203000203" pitchFamily="34" charset="0"/>
              </a:defRPr>
            </a:lvl1pPr>
          </a:lstStyle>
          <a:p>
            <a:r>
              <a:rPr lang="en-US" noProof="0"/>
              <a:t>Click to add header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0FF9F4-3B76-934D-9720-E5C97A0EA86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7201" y="2440654"/>
            <a:ext cx="11577883" cy="4106933"/>
          </a:xfrm>
        </p:spPr>
        <p:txBody>
          <a:bodyPr rIns="5461200"/>
          <a:lstStyle>
            <a:lvl1pPr marL="0" indent="0">
              <a:buNone/>
              <a:defRPr sz="1598"/>
            </a:lvl1pPr>
          </a:lstStyle>
          <a:p>
            <a:pPr lvl="0"/>
            <a:r>
              <a:rPr lang="en-US" noProof="0" dirty="0"/>
              <a:t>Click to add media, tables or text</a:t>
            </a:r>
          </a:p>
        </p:txBody>
      </p:sp>
    </p:spTree>
    <p:extLst>
      <p:ext uri="{BB962C8B-B14F-4D97-AF65-F5344CB8AC3E}">
        <p14:creationId xmlns:p14="http://schemas.microsoft.com/office/powerpoint/2010/main" val="631348347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Really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994317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EC0ABF4-1C51-BF7D-70CF-DD2C38C9DB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3" y="6048047"/>
            <a:ext cx="2476178" cy="571500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069D4BA-0EE4-89E6-7C3A-71F71400A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0" y="6000751"/>
            <a:ext cx="2476178" cy="618796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37030051"/>
      </p:ext>
    </p:extLst>
  </p:cSld>
  <p:clrMapOvr>
    <a:masterClrMapping/>
  </p:clrMapOvr>
  <p:transition spd="med"/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14509F-3705-A705-C5B3-FA435C246A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3" y="6048047"/>
            <a:ext cx="2476178" cy="571500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F264794-39E6-B78D-2E92-D8D02F918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0" y="6000751"/>
            <a:ext cx="2476178" cy="618796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62392216"/>
      </p:ext>
    </p:extLst>
  </p:cSld>
  <p:clrMapOvr>
    <a:masterClrMapping/>
  </p:clrMapOvr>
  <p:transition spd="med"/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8834902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841833"/>
      </p:ext>
    </p:extLst>
  </p:cSld>
  <p:clrMapOvr>
    <a:masterClrMapping/>
  </p:clrMapOvr>
  <p:transition spd="med"/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4938006"/>
      </p:ext>
    </p:extLst>
  </p:cSld>
  <p:clrMapOvr>
    <a:masterClrMapping/>
  </p:clrMapOvr>
  <p:transition spd="med"/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7480815"/>
      </p:ext>
    </p:extLst>
  </p:cSld>
  <p:clrMapOvr>
    <a:masterClrMapping/>
  </p:clrMapOvr>
  <p:transition spd="med"/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6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92600"/>
            <a:ext cx="5049180" cy="285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547881"/>
      </p:ext>
    </p:extLst>
  </p:cSld>
  <p:clrMapOvr>
    <a:masterClrMapping/>
  </p:clrMapOvr>
  <p:transition spd="med"/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098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815CA4A-82C6-E038-8C80-CF4A54B1E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794" y="284956"/>
            <a:ext cx="247617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098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7396357"/>
      </p:ext>
    </p:extLst>
  </p:cSld>
  <p:clrMapOvr>
    <a:masterClrMapping/>
  </p:clrMapOvr>
  <p:transition spd="med"/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310318"/>
      </p:ext>
    </p:extLst>
  </p:cSld>
  <p:clrMapOvr>
    <a:masterClrMapping/>
  </p:clrMapOvr>
  <p:transition spd="med"/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192600"/>
            <a:ext cx="8569797" cy="4095750"/>
          </a:xfrm>
        </p:spPr>
        <p:txBody>
          <a:bodyPr/>
          <a:lstStyle>
            <a:lvl1pPr>
              <a:lnSpc>
                <a:spcPct val="100000"/>
              </a:lnSpc>
              <a:defRPr sz="85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670219"/>
      </p:ext>
    </p:extLst>
  </p:cSld>
  <p:clrMapOvr>
    <a:masterClrMapping/>
  </p:clrMapOvr>
  <p:transition spd="med"/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9D4AF5E-3E60-06F1-E3E3-F00E3ADA9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7030" y="192024"/>
            <a:ext cx="5536971" cy="42870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26073432"/>
      </p:ext>
    </p:extLst>
  </p:cSld>
  <p:clrMapOvr>
    <a:masterClrMapping/>
  </p:clrMapOvr>
  <p:transition spd="med"/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019918"/>
      </p:ext>
    </p:extLst>
  </p:cSld>
  <p:clrMapOvr>
    <a:masterClrMapping/>
  </p:clrMapOvr>
  <p:transition spd="med"/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62" y="4648200"/>
            <a:ext cx="5524575" cy="17716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9463" y="4648200"/>
            <a:ext cx="5523781" cy="17716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1B1D3B-7FD1-5342-AD21-86B27FCC1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300" y="192600"/>
            <a:ext cx="3815591" cy="314404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E2A6217-C3F0-04CD-0266-C53A5C85FD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79463" y="192600"/>
            <a:ext cx="3815591" cy="314404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2464545"/>
      </p:ext>
    </p:extLst>
  </p:cSld>
  <p:clrMapOvr>
    <a:masterClrMapping/>
  </p:clrMapOvr>
  <p:transition spd="med"/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192600"/>
            <a:ext cx="2474590" cy="9532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192600"/>
            <a:ext cx="2474590" cy="9517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0"/>
            <a:ext cx="2475384" cy="9539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46275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19412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6533"/>
            <a:ext cx="2476178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3"/>
            <a:ext cx="2476178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563834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28416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49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0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690415"/>
      </p:ext>
    </p:extLst>
  </p:cSld>
  <p:clrMapOvr>
    <a:masterClrMapping/>
  </p:clrMapOvr>
  <p:transition spd="med"/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192600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192600"/>
            <a:ext cx="5523781" cy="2667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319028"/>
      </p:ext>
    </p:extLst>
  </p:cSld>
  <p:clrMapOvr>
    <a:masterClrMapping/>
  </p:clrMapOvr>
  <p:transition spd="med"/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0"/>
            <a:ext cx="247538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92600"/>
            <a:ext cx="380950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093976"/>
            <a:ext cx="3809504" cy="1428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01668"/>
            <a:ext cx="3809504" cy="1428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98618"/>
      </p:ext>
    </p:extLst>
  </p:cSld>
  <p:clrMapOvr>
    <a:masterClrMapping/>
  </p:clrMapOvr>
  <p:transition spd="med"/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03799C-055C-81A5-3E36-D78912AA6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97B3A71-6FB0-4C14-4695-68801FBBBE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C1273EB-3A3E-B282-A619-1D6FB102B1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0367260-BF8E-C847-2296-4EAD779F01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42374400"/>
      </p:ext>
    </p:extLst>
  </p:cSld>
  <p:clrMapOvr>
    <a:masterClrMapping/>
  </p:clrMapOvr>
  <p:transition spd="med"/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192600"/>
            <a:ext cx="2477765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22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43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65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E03333F-C9F4-9C57-BAAE-A49EA523AF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3321C6-7CF8-EF30-4736-48A201B094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C67FA0E-EA85-0950-FCC7-3F6BF1A741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67605-D889-6D38-2F1B-DF58E809AC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70236262"/>
      </p:ext>
    </p:extLst>
  </p:cSld>
  <p:clrMapOvr>
    <a:masterClrMapping/>
  </p:clrMapOvr>
  <p:transition spd="med"/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38784491"/>
      </p:ext>
    </p:extLst>
  </p:cSld>
  <p:clrMapOvr>
    <a:masterClrMapping/>
  </p:clrMapOvr>
  <p:transition spd="med"/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048544"/>
          </a:xfr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CEA9C7F-1CB2-B0B0-AE4C-171B0AFC6E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4D72D8-0638-1E42-6480-21D9CF7A44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6DDCC2C-4DA8-F28F-9BBF-ACD120C05B4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77779201"/>
      </p:ext>
    </p:extLst>
  </p:cSld>
  <p:clrMapOvr>
    <a:masterClrMapping/>
  </p:clrMapOvr>
  <p:transition spd="med"/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98038E-FA9A-2E7F-DE4F-45D37F116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B3FDBEC-0A0D-82A4-F347-00CE8AD711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8781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02911481"/>
      </p:ext>
    </p:extLst>
  </p:cSld>
  <p:clrMapOvr>
    <a:masterClrMapping/>
  </p:clrMapOvr>
  <p:transition spd="med"/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3711980" cy="9532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77224381"/>
      </p:ext>
    </p:extLst>
  </p:cSld>
  <p:clrMapOvr>
    <a:masterClrMapping/>
  </p:clrMapOvr>
  <p:transition spd="med"/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3A4153E-E96A-682A-6ADB-86D8329C1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2"/>
            <a:ext cx="248163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A778F7-DDE5-2F6E-F5FA-F5B0F120E0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4" y="192023"/>
            <a:ext cx="2481638" cy="571579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2578162"/>
      </p:ext>
    </p:extLst>
  </p:cSld>
  <p:clrMapOvr>
    <a:masterClrMapping/>
  </p:clrMapOvr>
  <p:transition spd="med"/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38C4317-85BF-2C36-29AD-9974CF6DE9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2"/>
            <a:ext cx="248163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1D0A98E-CDEF-685C-25C7-E4EA3AFDCD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4" y="192023"/>
            <a:ext cx="2481638" cy="571579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0814260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19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2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4" y="288036"/>
            <a:ext cx="2476178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4141" y="3333750"/>
            <a:ext cx="2476178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877155"/>
      </p:ext>
    </p:extLst>
  </p:cSld>
  <p:clrMapOvr>
    <a:masterClrMapping/>
  </p:clrMapOvr>
  <p:transition spd="med"/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401EF50-EF95-0C87-38FD-2E0B9FD3E3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715D83-2EB0-631E-31DF-DAE49EE105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2EE4CB5-8991-123D-EBF8-1ED34CC50F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4ACB30C-F320-75FA-F4BC-8A4103FF2F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4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3075465"/>
      </p:ext>
    </p:extLst>
  </p:cSld>
  <p:clrMapOvr>
    <a:masterClrMapping/>
  </p:clrMapOvr>
  <p:transition spd="med"/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320D13A-B2E3-8109-F9A4-70AB45A14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4BDB94-1ECF-14DA-1C2A-F289E665E0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6E55AA2-DCD0-9227-A831-24FD27E4CB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8FF2718-83A0-A416-2862-0D743963623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4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53572806"/>
      </p:ext>
    </p:extLst>
  </p:cSld>
  <p:clrMapOvr>
    <a:masterClrMapping/>
  </p:clrMapOvr>
  <p:transition spd="med"/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6703E2E-EBF0-C866-7278-E844AFCB3A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D2030D9-4E2C-5A41-AC60-E9DAA791E3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473B493-1BC7-D878-AEAA-C60A2D67B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4526510"/>
      </p:ext>
    </p:extLst>
  </p:cSld>
  <p:clrMapOvr>
    <a:masterClrMapping/>
  </p:clrMapOvr>
  <p:transition spd="med"/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E4E8AF0-4192-FB86-9702-8592B301CA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0252" y="1228296"/>
            <a:ext cx="3334903" cy="1533952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5744FFC-849B-8FBD-FF73-B21942BA0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80920" y="1228296"/>
            <a:ext cx="3334903" cy="153395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0A13E8E-060C-6E01-AB11-41A2190116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7999" y="4181048"/>
            <a:ext cx="3334903" cy="15339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277838E-5792-202A-65F5-342AF0992E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88667" y="4181048"/>
            <a:ext cx="3334903" cy="1533946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4187683"/>
      </p:ext>
    </p:extLst>
  </p:cSld>
  <p:clrMapOvr>
    <a:masterClrMapping/>
  </p:clrMapOvr>
  <p:transition spd="med"/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0"/>
            <a:ext cx="2477765" cy="57070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FBB383F-F59D-AEC8-4D6C-AC28926B09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053B001-EDB1-FA28-FFB0-F41FF2D33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D8F0E9F-03CA-D8CD-75A1-CB650A81E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16D24DB-6F94-3A9D-70FD-B96C2E9E8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83073570"/>
      </p:ext>
    </p:extLst>
  </p:cSld>
  <p:clrMapOvr>
    <a:masterClrMapping/>
  </p:clrMapOvr>
  <p:transition spd="med"/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0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06119535"/>
      </p:ext>
    </p:extLst>
  </p:cSld>
  <p:clrMapOvr>
    <a:masterClrMapping/>
  </p:clrMapOvr>
  <p:transition spd="med"/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32141B-6D8C-ADDD-8D24-D2B3603813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DBD6A3D-FB96-6A97-1F58-F61F03D376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4BA88F-5BD8-839D-33E8-DAC02350A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2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BCA7C7E-4E8C-6B73-007A-21635527B0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7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55753856"/>
      </p:ext>
    </p:extLst>
  </p:cSld>
  <p:clrMapOvr>
    <a:masterClrMapping/>
  </p:clrMapOvr>
  <p:transition spd="med"/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340CDF-396E-8FEA-9F33-A868AEB7DE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4B77E5-DBD6-E6DD-D620-C878361A7B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83D79D-159D-684B-A0A2-E6DD61C3A5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2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50B9EEB-A8EA-2744-D650-EC7233DAFF4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7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80589605"/>
      </p:ext>
    </p:extLst>
  </p:cSld>
  <p:clrMapOvr>
    <a:masterClrMapping/>
  </p:clrMapOvr>
  <p:transition spd="med"/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5" y="288036"/>
            <a:ext cx="2481638" cy="2572542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8" cy="247649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56343322"/>
      </p:ext>
    </p:extLst>
  </p:cSld>
  <p:clrMapOvr>
    <a:masterClrMapping/>
  </p:clrMapOvr>
  <p:transition spd="med"/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84E564-F094-C65E-4C30-6AD26FD6A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713705"/>
            <a:ext cx="2481638" cy="185804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384162-F420-216E-B250-BA49ED23A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713705"/>
            <a:ext cx="2481638" cy="185803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D5D50EC-56AE-CB68-AF0D-967D997C2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63186" y="3759417"/>
            <a:ext cx="2481638" cy="186032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5DF0382-EAC2-42E6-8F3C-D78D997011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98651" y="3759418"/>
            <a:ext cx="2481638" cy="1860326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D63E7DA-FA91-79CE-F137-C4CFF42378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713704"/>
            <a:ext cx="2481638" cy="185804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3E415E0-33AF-4F69-4718-A13AF38331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32555" y="3759417"/>
            <a:ext cx="2481638" cy="1860327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9443738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3" y="666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0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3" y="3714750"/>
            <a:ext cx="2476178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06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12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18" indent="-109706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749728"/>
      </p:ext>
    </p:extLst>
  </p:cSld>
  <p:clrMapOvr>
    <a:masterClrMapping/>
  </p:clrMapOvr>
  <p:transition spd="med"/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EB5F78-B3F7-EBA1-BE53-B96CA397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FFEAD4C-1129-22EA-9ED5-9BE409A0C7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719EAC-72ED-B4B5-CA48-EB23C5EB8B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C9C88E-05A2-25E3-4571-C794E968D7F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D76302BE-E896-F153-8F88-B63A433B5C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301" y="3332988"/>
            <a:ext cx="2481638" cy="2477257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FF14BC99-A0C2-45B6-C1F6-84D3EACEDF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8" cy="247649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4873497"/>
      </p:ext>
    </p:extLst>
  </p:cSld>
  <p:clrMapOvr>
    <a:masterClrMapping/>
  </p:clrMapOvr>
  <p:transition spd="med"/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706563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A90B24-A7AA-EE26-4DF0-B0850F874C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69" y="3332987"/>
            <a:ext cx="2512742" cy="247725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293E5F0-8E0D-8611-485C-03E54EE01C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29263" y="3332988"/>
            <a:ext cx="2512742" cy="247725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5B5649-C746-EAC6-E506-88A5EE6297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61876" y="3350711"/>
            <a:ext cx="2512742" cy="245953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1C336AE-32DC-6A3D-A0A5-FD3BEEE59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94676" y="3332988"/>
            <a:ext cx="2489064" cy="2477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8F4A404-A74C-F889-564A-6677AB4E33D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04886" y="288037"/>
            <a:ext cx="2489064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D20BC60-A254-2972-5466-846B4E395A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5360" y="288036"/>
            <a:ext cx="2489064" cy="257254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4779458"/>
      </p:ext>
    </p:extLst>
  </p:cSld>
  <p:clrMapOvr>
    <a:masterClrMapping/>
  </p:clrMapOvr>
  <p:transition spd="med"/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69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0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79955276"/>
      </p:ext>
    </p:extLst>
  </p:cSld>
  <p:clrMapOvr>
    <a:masterClrMapping/>
  </p:clrMapOvr>
  <p:transition spd="med"/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6" y="6452314"/>
            <a:ext cx="133834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81521-9341-A586-10B8-D3CD3EBBA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69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06183525"/>
      </p:ext>
    </p:extLst>
  </p:cSld>
  <p:clrMapOvr>
    <a:masterClrMapping/>
  </p:clrMapOvr>
  <p:transition spd="med"/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6" y="6452314"/>
            <a:ext cx="133834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5"/>
            <a:ext cx="8574559" cy="6289675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71C2C-D5EE-B66A-FC5F-45245937D1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49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77380249"/>
      </p:ext>
    </p:extLst>
  </p:cSld>
  <p:clrMapOvr>
    <a:masterClrMapping/>
  </p:clrMapOvr>
  <p:transition spd="med"/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783262900"/>
      </p:ext>
    </p:extLst>
  </p:cSld>
  <p:clrMapOvr>
    <a:masterClrMapping/>
  </p:clrMapOvr>
  <p:transition spd="med"/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97825511"/>
      </p:ext>
    </p:extLst>
  </p:cSld>
  <p:clrMapOvr>
    <a:masterClrMapping/>
  </p:clrMapOvr>
  <p:transition spd="med"/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58561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09437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BD9F85F-FC85-6E91-ADD3-38F0F5BEE2E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381618" y="3058561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8FF7CC5C-A250-D817-B1E6-EBD584F08B1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381618" y="4762500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416EBE0-0E9C-366F-583C-0BE751DA2B3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81618" y="1323037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4C60C05-9B2E-E5AA-E325-3B56BC1B45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74594" y="1309437"/>
            <a:ext cx="2877873" cy="126231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379598-B132-493E-3A4A-13641BF453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74594" y="3058562"/>
            <a:ext cx="2877873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387A7EC-6D77-1F31-248D-AF22142944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674593" y="4762500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9C6738A-ED82-E7BB-C9BF-8057E77ED4B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77613" y="3072162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24967257-4251-A48B-9DE6-F07EC4EC036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377613" y="47761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4A6B1635-0D2E-93F5-D353-C9B1B58E77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77613" y="1323037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0541A3D3-1296-6D28-80F6-210E0C8616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377613" y="3082625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EE31C9DF-6A33-F9E3-7394-0B59091621E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377613" y="4786563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CAAA857-D33B-2769-F70D-96215C29A41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6377613" y="1333500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412D36A-B5BE-A294-20DF-30B55A06C5A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764207" y="1333500"/>
            <a:ext cx="2921430" cy="126231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ED900610-36FC-D7DA-7651-CC7E3D3200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764207" y="3082625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FEAE0F0-F94C-F405-C850-B3545368F69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764207" y="4786563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24367256"/>
      </p:ext>
    </p:extLst>
  </p:cSld>
  <p:clrMapOvr>
    <a:masterClrMapping/>
  </p:clrMapOvr>
  <p:transition spd="med"/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872052"/>
      </p:ext>
    </p:extLst>
  </p:cSld>
  <p:clrMapOvr>
    <a:masterClrMapping/>
  </p:clrMapOvr>
  <p:transition spd="med"/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63550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832463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8" y="3332988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74914"/>
      </p:ext>
    </p:extLst>
  </p:cSld>
  <p:clrMapOvr>
    <a:masterClrMapping/>
  </p:clrMapOvr>
  <p:transition spd="med"/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352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851351"/>
      </p:ext>
    </p:extLst>
  </p:cSld>
  <p:clrMapOvr>
    <a:masterClrMapping/>
  </p:clrMapOvr>
  <p:transition spd="med"/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951805"/>
      </p:ext>
    </p:extLst>
  </p:cSld>
  <p:clrMapOvr>
    <a:masterClrMapping/>
  </p:clrMapOvr>
  <p:transition spd="med"/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82945"/>
      </p:ext>
    </p:extLst>
  </p:cSld>
  <p:clrMapOvr>
    <a:masterClrMapping/>
  </p:clrMapOvr>
  <p:transition spd="med"/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0BDB4-4767-39C3-C808-04EF4D2927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70666D-D51B-605E-C7A7-819ABAA05B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D9770D-BCC9-1CD5-C9C6-2597363C0B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4B5D3-7902-4F3F-ABCE-EB89CBD5CCE7}" type="datetimeFigureOut">
              <a:rPr lang="en-IN" smtClean="0"/>
              <a:t>24/06/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78A00-9160-B67B-6B5A-C2E364FFD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05AA81-2FC8-CDDF-97A4-6C77BD6C6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CCE5D-2BE5-423C-BD28-7CAD0CD763C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6155978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7B3B8-C75D-5513-0FDA-1834903E8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3896B-4E44-5E1F-FC52-423579816D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79920B-2DFE-6990-A9CE-8C3826384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4B5D3-7902-4F3F-ABCE-EB89CBD5CCE7}" type="datetimeFigureOut">
              <a:rPr lang="en-IN" smtClean="0"/>
              <a:t>24/06/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5AFB0C-8655-A5E6-4AAE-418BACDB7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6CFE37-E7D6-539A-724F-C93B8F98E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CCE5D-2BE5-423C-BD28-7CAD0CD763C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2036128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714500"/>
            <a:ext cx="2476178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714500"/>
            <a:ext cx="2479352" cy="4286250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22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43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265" indent="-91422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696468"/>
      </p:ext>
    </p:extLst>
  </p:cSld>
  <p:clrMapOvr>
    <a:masterClrMapping/>
  </p:clrMapOvr>
  <p:transition spd="med"/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4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9C054CF-9453-850A-6B65-8421B46079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1169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Title Text"/>
          <p:cNvSpPr txBox="1">
            <a:spLocks noGrp="1"/>
          </p:cNvSpPr>
          <p:nvPr>
            <p:ph type="title"/>
          </p:nvPr>
        </p:nvSpPr>
        <p:spPr>
          <a:xfrm>
            <a:off x="275338" y="198287"/>
            <a:ext cx="5522912" cy="22867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Title Text</a:t>
            </a:r>
          </a:p>
        </p:txBody>
      </p:sp>
      <p:sp>
        <p:nvSpPr>
          <p:cNvPr id="5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381750" y="250546"/>
            <a:ext cx="2476501" cy="571579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127964" indent="-127964">
              <a:defRPr sz="1400"/>
            </a:lvl2pPr>
            <a:lvl3pPr marL="255930" indent="-127964">
              <a:defRPr sz="1400"/>
            </a:lvl3pPr>
            <a:lvl4pPr marL="383894" indent="-127964">
              <a:defRPr sz="1400"/>
            </a:lvl4pPr>
            <a:lvl5pPr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63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429749" y="250545"/>
            <a:ext cx="2476501" cy="571579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/>
            </a:pPr>
            <a:endParaRPr/>
          </a:p>
        </p:txBody>
      </p:sp>
      <p:sp>
        <p:nvSpPr>
          <p:cNvPr id="56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70814" y="6469420"/>
            <a:ext cx="135436" cy="123111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1389647"/>
      </p:ext>
    </p:extLst>
  </p:cSld>
  <p:clrMapOvr>
    <a:masterClrMapping/>
  </p:clrMapOvr>
  <p:transition spd="med"/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007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EC0ABF4-1C51-BF7D-70CF-DD2C38C9DB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3" y="6048047"/>
            <a:ext cx="2476178" cy="571500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069D4BA-0EE4-89E6-7C3A-71F71400A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0" y="6000751"/>
            <a:ext cx="2476178" cy="618796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81768405"/>
      </p:ext>
    </p:extLst>
  </p:cSld>
  <p:clrMapOvr>
    <a:masterClrMapping/>
  </p:clrMapOvr>
  <p:transition spd="med"/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12192000" cy="600075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14509F-3705-A705-C5B3-FA435C246A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443" y="6048047"/>
            <a:ext cx="2476178" cy="571500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F264794-39E6-B78D-2E92-D8D02F918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7760" y="6000751"/>
            <a:ext cx="2476178" cy="618796"/>
          </a:xfrm>
          <a:prstGeom prst="rect">
            <a:avLst/>
          </a:prstGeom>
        </p:spPr>
        <p:txBody>
          <a:bodyPr anchor="b"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6867580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0109" y="288036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0109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0042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6" y="3333750"/>
            <a:ext cx="2476178" cy="2477294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712620"/>
      </p:ext>
    </p:extLst>
  </p:cSld>
  <p:clrMapOvr>
    <a:masterClrMapping/>
  </p:clrMapOvr>
  <p:transition spd="med"/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6861401"/>
      </p:ext>
    </p:extLst>
  </p:cSld>
  <p:clrMapOvr>
    <a:masterClrMapping/>
  </p:clrMapOvr>
  <p:transition spd="med"/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998" y="6231636"/>
            <a:ext cx="5524575" cy="381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633173"/>
      </p:ext>
    </p:extLst>
  </p:cSld>
  <p:clrMapOvr>
    <a:masterClrMapping/>
  </p:clrMapOvr>
  <p:transition spd="med"/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423090"/>
      </p:ext>
    </p:extLst>
  </p:cSld>
  <p:clrMapOvr>
    <a:masterClrMapping/>
  </p:clrMapOvr>
  <p:transition spd="med"/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7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92600"/>
            <a:ext cx="5049180" cy="285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020994"/>
      </p:ext>
    </p:extLst>
  </p:cSld>
  <p:clrMapOvr>
    <a:masterClrMapping/>
  </p:clrMapOvr>
  <p:transition spd="med"/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098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815CA4A-82C6-E038-8C80-CF4A54B1E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794" y="284956"/>
            <a:ext cx="247617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511098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31550288"/>
      </p:ext>
    </p:extLst>
  </p:cSld>
  <p:clrMapOvr>
    <a:masterClrMapping/>
  </p:clrMapOvr>
  <p:transition spd="med"/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761297"/>
      </p:ext>
    </p:extLst>
  </p:cSld>
  <p:clrMapOvr>
    <a:masterClrMapping/>
  </p:clrMapOvr>
  <p:transition spd="med"/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192600"/>
            <a:ext cx="8569797" cy="4095750"/>
          </a:xfrm>
        </p:spPr>
        <p:txBody>
          <a:bodyPr/>
          <a:lstStyle>
            <a:lvl1pPr>
              <a:lnSpc>
                <a:spcPct val="100000"/>
              </a:lnSpc>
              <a:defRPr sz="8598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584794"/>
      </p:ext>
    </p:extLst>
  </p:cSld>
  <p:clrMapOvr>
    <a:masterClrMapping/>
  </p:clrMapOvr>
  <p:transition spd="med"/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4953942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9D4AF5E-3E60-06F1-E3E3-F00E3ADA9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7030" y="192025"/>
            <a:ext cx="5536971" cy="42870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273668"/>
      </p:ext>
    </p:extLst>
  </p:cSld>
  <p:clrMapOvr>
    <a:masterClrMapping/>
  </p:clrMapOvr>
  <p:transition spd="med"/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7330121" cy="485854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534463"/>
      </p:ext>
    </p:extLst>
  </p:cSld>
  <p:clrMapOvr>
    <a:masterClrMapping/>
  </p:clrMapOvr>
  <p:transition spd="med"/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962" y="4648200"/>
            <a:ext cx="5524575" cy="17716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9463" y="4648200"/>
            <a:ext cx="5523781" cy="17716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897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1B1D3B-7FD1-5342-AD21-86B27FCC1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300" y="192600"/>
            <a:ext cx="3815591" cy="314404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E2A6217-C3F0-04CD-0266-C53A5C85FD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79463" y="192600"/>
            <a:ext cx="3815591" cy="314404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8008743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6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27021019"/>
      </p:ext>
    </p:extLst>
  </p:cSld>
  <p:clrMapOvr>
    <a:masterClrMapping/>
  </p:clrMapOvr>
  <p:transition spd="med"/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192600"/>
            <a:ext cx="2474590" cy="9532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192600"/>
            <a:ext cx="2474590" cy="9517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0"/>
            <a:ext cx="2475384" cy="9539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46275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19412" indent="-73137"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4"/>
            <a:ext cx="2475384" cy="48365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1166534"/>
            <a:ext cx="2476178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2" y="1166534"/>
            <a:ext cx="2476178" cy="48334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082182"/>
      </p:ext>
    </p:extLst>
  </p:cSld>
  <p:clrMapOvr>
    <a:masterClrMapping/>
  </p:clrMapOvr>
  <p:transition spd="med"/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0" y="192600"/>
            <a:ext cx="2474590" cy="2667794"/>
          </a:xfr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192600"/>
            <a:ext cx="5523781" cy="2667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0" y="3238500"/>
            <a:ext cx="2474590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2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29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>
              <a:lnSpc>
                <a:spcPct val="100000"/>
              </a:lnSpc>
              <a:spcBef>
                <a:spcPts val="0"/>
              </a:spcBef>
              <a:defRPr sz="42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2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0462"/>
      </p:ext>
    </p:extLst>
  </p:cSld>
  <p:clrMapOvr>
    <a:masterClrMapping/>
  </p:clrMapOvr>
  <p:transition spd="med"/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0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192600"/>
            <a:ext cx="247538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8"/>
            <a:ext cx="2475384" cy="5715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92600"/>
            <a:ext cx="3809504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093976"/>
            <a:ext cx="3809504" cy="1428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01668"/>
            <a:ext cx="3809504" cy="14287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6"/>
            <a:ext cx="2475384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7" y="4201668"/>
            <a:ext cx="2475383" cy="142875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499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068404"/>
      </p:ext>
    </p:extLst>
  </p:cSld>
  <p:clrMapOvr>
    <a:masterClrMapping/>
  </p:clrMapOvr>
  <p:transition spd="med"/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03799C-055C-81A5-3E36-D78912AA6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97B3A71-6FB0-4C14-4695-68801FBBBE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C1273EB-3A3E-B282-A619-1D6FB102B1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0367260-BF8E-C847-2296-4EAD779F01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53850040"/>
      </p:ext>
    </p:extLst>
  </p:cSld>
  <p:clrMapOvr>
    <a:masterClrMapping/>
  </p:clrMapOvr>
  <p:transition spd="med"/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192600"/>
            <a:ext cx="2477765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1422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82843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74265" indent="-91422">
              <a:lnSpc>
                <a:spcPct val="10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10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E03333F-C9F4-9C57-BAAE-A49EA523AF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3321C6-7CF8-EF30-4736-48A201B094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0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C67FA0E-EA85-0950-FCC7-3F6BF1A741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67605-D889-6D38-2F1B-DF58E809AC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13491969"/>
      </p:ext>
    </p:extLst>
  </p:cSld>
  <p:clrMapOvr>
    <a:masterClrMapping/>
  </p:clrMapOvr>
  <p:transition spd="med"/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6"/>
            <a:ext cx="2477765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19" y="288036"/>
            <a:ext cx="2476178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2" y="288036"/>
            <a:ext cx="2479352" cy="762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7990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598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971" indent="-127990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12260453"/>
      </p:ext>
    </p:extLst>
  </p:cSld>
  <p:clrMapOvr>
    <a:masterClrMapping/>
  </p:clrMapOvr>
  <p:transition spd="med"/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048544"/>
          </a:xfr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714500"/>
            <a:ext cx="2477765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6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5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2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CEA9C7F-1CB2-B0B0-AE4C-171B0AFC6E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4D72D8-0638-1E42-6480-21D9CF7A44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6DDCC2C-4DA8-F28F-9BBF-ACD120C05B4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17008576"/>
      </p:ext>
    </p:extLst>
  </p:cSld>
  <p:clrMapOvr>
    <a:masterClrMapping/>
  </p:clrMapOvr>
  <p:transition spd="med"/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6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554" y="192024"/>
            <a:ext cx="2477765" cy="57070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98038E-FA9A-2E7F-DE4F-45D37F116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B3FDBEC-0A0D-82A4-F347-00CE8AD711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8781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2586520"/>
      </p:ext>
    </p:extLst>
  </p:cSld>
  <p:clrMapOvr>
    <a:masterClrMapping/>
  </p:clrMapOvr>
  <p:transition spd="med"/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3711980" cy="9532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714500"/>
            <a:ext cx="509125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2213324"/>
      </p:ext>
    </p:extLst>
  </p:cSld>
  <p:clrMapOvr>
    <a:masterClrMapping/>
  </p:clrMapOvr>
  <p:transition spd="med"/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2193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3A4153E-E96A-682A-6ADB-86D8329C1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2"/>
            <a:ext cx="248163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A778F7-DDE5-2F6E-F5FA-F5B0F120E0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4" y="192023"/>
            <a:ext cx="2481638" cy="571579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61049367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978361287"/>
      </p:ext>
    </p:extLst>
  </p:cSld>
  <p:clrMapOvr>
    <a:masterClrMapping/>
  </p:clrMapOvr>
  <p:transition spd="med"/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2476178" cy="2286794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38C4317-85BF-2C36-29AD-9974CF6DE9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6899" y="192022"/>
            <a:ext cx="2481638" cy="5715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1D0A98E-CDEF-685C-25C7-E4EA3AFDCD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364" y="192023"/>
            <a:ext cx="2481638" cy="571579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68594191"/>
      </p:ext>
    </p:extLst>
  </p:cSld>
  <p:clrMapOvr>
    <a:masterClrMapping/>
  </p:clrMapOvr>
  <p:transition spd="med"/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401EF50-EF95-0C87-38FD-2E0B9FD3E3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715D83-2EB0-631E-31DF-DAE49EE105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2EE4CB5-8991-123D-EBF8-1ED34CC50F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4ACB30C-F320-75FA-F4BC-8A4103FF2F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4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0895155"/>
      </p:ext>
    </p:extLst>
  </p:cSld>
  <p:clrMapOvr>
    <a:masterClrMapping/>
  </p:clrMapOvr>
  <p:transition spd="med"/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192600"/>
            <a:ext cx="2474591" cy="2286794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320D13A-B2E3-8109-F9A4-70AB45A14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305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4BDB94-1ECF-14DA-1C2A-F289E665E0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6E55AA2-DCD0-9227-A831-24FD27E4CB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93058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8FF2718-83A0-A416-2862-0D743963623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22364" y="192024"/>
            <a:ext cx="2481638" cy="762794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29552215"/>
      </p:ext>
    </p:extLst>
  </p:cSld>
  <p:clrMapOvr>
    <a:masterClrMapping/>
  </p:clrMapOvr>
  <p:transition spd="med"/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2474590" cy="570707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4142" y="192024"/>
            <a:ext cx="2477765" cy="57070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380919" y="288036"/>
            <a:ext cx="607997" cy="607231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9428522" y="288036"/>
            <a:ext cx="608843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6703E2E-EBF0-C866-7278-E844AFCB3A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6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D2030D9-4E2C-5A41-AC60-E9DAA791E3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473B493-1BC7-D878-AEAA-C60A2D67B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1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8429638"/>
      </p:ext>
    </p:extLst>
  </p:cSld>
  <p:clrMapOvr>
    <a:masterClrMapping/>
  </p:clrMapOvr>
  <p:transition spd="med"/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8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8" y="3236976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238500"/>
            <a:ext cx="607997" cy="608076"/>
          </a:xfrm>
          <a:prstGeom prst="rect">
            <a:avLst/>
          </a:prstGeom>
        </p:spPr>
        <p:txBody>
          <a:bodyPr anchor="ctr"/>
          <a:lstStyle>
            <a:lvl1pPr algn="ctr">
              <a:defRPr sz="800" b="0" i="0"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6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E4E8AF0-4192-FB86-9702-8592B301CA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0252" y="1228296"/>
            <a:ext cx="3334903" cy="1533952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5744FFC-849B-8FBD-FF73-B21942BA0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80920" y="1228296"/>
            <a:ext cx="3334903" cy="153395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0A13E8E-060C-6E01-AB11-41A2190116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7999" y="4181048"/>
            <a:ext cx="3334903" cy="15339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277838E-5792-202A-65F5-342AF0992E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88667" y="4181048"/>
            <a:ext cx="3334903" cy="1533946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0059369"/>
      </p:ext>
    </p:extLst>
  </p:cSld>
  <p:clrMapOvr>
    <a:masterClrMapping/>
  </p:clrMapOvr>
  <p:transition spd="med"/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8" y="841248"/>
            <a:ext cx="2857128" cy="1138428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0"/>
            <a:ext cx="2477765" cy="57070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FBB383F-F59D-AEC8-4D6C-AC28926B09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053B001-EDB1-FA28-FFB0-F41FF2D33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D8F0E9F-03CA-D8CD-75A1-CB650A81E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16D24DB-6F94-3A9D-70FD-B96C2E9E8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39162624"/>
      </p:ext>
    </p:extLst>
  </p:cSld>
  <p:clrMapOvr>
    <a:masterClrMapping/>
  </p:clrMapOvr>
  <p:transition spd="med"/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763524"/>
            <a:ext cx="5521401" cy="1138428"/>
          </a:xfrm>
        </p:spPr>
        <p:txBody>
          <a:bodyPr rIns="457200"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192600"/>
            <a:ext cx="2477765" cy="22402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1076644"/>
      </p:ext>
    </p:extLst>
  </p:cSld>
  <p:clrMapOvr>
    <a:masterClrMapping/>
  </p:clrMapOvr>
  <p:transition spd="med"/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32141B-6D8C-ADDD-8D24-D2B3603813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DBD6A3D-FB96-6A97-1F58-F61F03D376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4BA88F-5BD8-839D-33E8-DAC02350A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2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BCA7C7E-4E8C-6B73-007A-21635527B0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7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0014079"/>
      </p:ext>
    </p:extLst>
  </p:cSld>
  <p:clrMapOvr>
    <a:masterClrMapping/>
  </p:clrMapOvr>
  <p:transition spd="med"/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24575" cy="2286794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340CDF-396E-8FEA-9F33-A868AEB7DE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3186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4B77E5-DBD6-E6DD-D620-C878361A7B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83D79D-159D-684B-A0A2-E6DD61C3A5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0252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50B9EEB-A8EA-2744-D650-EC7233DAFF4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15717" y="3328416"/>
            <a:ext cx="2481638" cy="266712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8280679"/>
      </p:ext>
    </p:extLst>
  </p:cSld>
  <p:clrMapOvr>
    <a:masterClrMapping/>
  </p:clrMapOvr>
  <p:transition spd="med"/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2555" y="288036"/>
            <a:ext cx="2481638" cy="2572542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8" cy="247649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74186705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4500"/>
            <a:ext cx="2477765" cy="4286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5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448122736"/>
      </p:ext>
    </p:extLst>
  </p:cSld>
  <p:clrMapOvr>
    <a:masterClrMapping/>
  </p:clrMapOvr>
  <p:transition spd="med"/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42954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88036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5"/>
            <a:ext cx="201142" cy="201613"/>
          </a:xfrm>
          <a:prstGeom prst="rect">
            <a:avLst/>
          </a:prstGeom>
        </p:spPr>
        <p:txBody>
          <a:bodyPr/>
          <a:lstStyle>
            <a:lvl1pPr>
              <a:defRPr sz="7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84E564-F094-C65E-4C30-6AD26FD6A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713705"/>
            <a:ext cx="2481638" cy="185804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384162-F420-216E-B250-BA49ED23A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98651" y="713705"/>
            <a:ext cx="2481638" cy="185803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D5D50EC-56AE-CB68-AF0D-967D997C2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63186" y="3759418"/>
            <a:ext cx="2481638" cy="186032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5DF0382-EAC2-42E6-8F3C-D78D997011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98651" y="3759418"/>
            <a:ext cx="2481638" cy="1860326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D63E7DA-FA91-79CE-F137-C4CFF42378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713704"/>
            <a:ext cx="2481638" cy="1858041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3E415E0-33AF-4F69-4718-A13AF38331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32555" y="3759417"/>
            <a:ext cx="2481638" cy="1860327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4586009"/>
      </p:ext>
    </p:extLst>
  </p:cSld>
  <p:clrMapOvr>
    <a:masterClrMapping/>
  </p:clrMapOvr>
  <p:transition spd="med"/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024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EB5F78-B3F7-EBA1-BE53-B96CA397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3186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FFEAD4C-1129-22EA-9ED5-9BE409A0C7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98651" y="288037"/>
            <a:ext cx="2481638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719EAC-72ED-B4B5-CA48-EB23C5EB8B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3186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C9C88E-05A2-25E3-4571-C794E968D7F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8651" y="3333750"/>
            <a:ext cx="2481638" cy="247650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D76302BE-E896-F153-8F88-B63A433B5C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301" y="3332988"/>
            <a:ext cx="2481638" cy="2477257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FF14BC99-A0C2-45B6-C1F6-84D3EACEDF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32555" y="3333749"/>
            <a:ext cx="2481638" cy="247649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8749880"/>
      </p:ext>
    </p:extLst>
  </p:cSld>
  <p:clrMapOvr>
    <a:masterClrMapping/>
  </p:clrMapOvr>
  <p:transition spd="med"/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1706563"/>
          </a:xfrm>
        </p:spPr>
        <p:txBody>
          <a:bodyPr rIns="0"/>
          <a:lstStyle>
            <a:lvl1pPr>
              <a:lnSpc>
                <a:spcPct val="100000"/>
              </a:lnSpc>
              <a:defRPr sz="2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0"/>
            <a:ext cx="0" cy="29527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10" y="284957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4"/>
            <a:ext cx="0" cy="57157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A90B24-A7AA-EE26-4DF0-B0850F874C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69" y="3332988"/>
            <a:ext cx="2512742" cy="2477258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293E5F0-8E0D-8611-485C-03E54EE01C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29263" y="3332988"/>
            <a:ext cx="2512742" cy="2477255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5B5649-C746-EAC6-E506-88A5EE6297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61876" y="3350711"/>
            <a:ext cx="2512742" cy="245953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1C336AE-32DC-6A3D-A0A5-FD3BEEE59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394676" y="3332988"/>
            <a:ext cx="2489064" cy="2477249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8F4A404-A74C-F889-564A-6677AB4E33D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04886" y="288037"/>
            <a:ext cx="2489064" cy="257254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D20BC60-A254-2972-5466-846B4E395A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5360" y="288037"/>
            <a:ext cx="2489064" cy="257254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5787584"/>
      </p:ext>
    </p:extLst>
  </p:cSld>
  <p:clrMapOvr>
    <a:masterClrMapping/>
  </p:clrMapOvr>
  <p:transition spd="med"/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7"/>
            <a:ext cx="5523781" cy="6287294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5969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4110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67559193"/>
      </p:ext>
    </p:extLst>
  </p:cSld>
  <p:clrMapOvr>
    <a:masterClrMapping/>
  </p:clrMapOvr>
  <p:transition spd="med"/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6" y="6452314"/>
            <a:ext cx="133834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81521-9341-A586-10B8-D3CD3EBBA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5969" y="1714500"/>
            <a:ext cx="2485921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6862180"/>
      </p:ext>
    </p:extLst>
  </p:cSld>
  <p:clrMapOvr>
    <a:masterClrMapping/>
  </p:clrMapOvr>
  <p:transition spd="med"/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866" y="6452314"/>
            <a:ext cx="133834" cy="12311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6" y="282576"/>
            <a:ext cx="8574559" cy="6289675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71C2C-D5EE-B66A-FC5F-45245937D1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1498" y="1714500"/>
            <a:ext cx="2481638" cy="4286250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044663"/>
      </p:ext>
    </p:extLst>
  </p:cSld>
  <p:clrMapOvr>
    <a:masterClrMapping/>
  </p:clrMapOvr>
  <p:transition spd="med"/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6446" y="6448424"/>
            <a:ext cx="128254" cy="127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293137656"/>
      </p:ext>
    </p:extLst>
  </p:cSld>
  <p:clrMapOvr>
    <a:masterClrMapping/>
  </p:clrMapOvr>
  <p:transition spd="med"/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6446" y="6448424"/>
            <a:ext cx="128254" cy="127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00405304"/>
      </p:ext>
    </p:extLst>
  </p:cSld>
  <p:clrMapOvr>
    <a:masterClrMapping/>
  </p:clrMapOvr>
  <p:transition spd="med"/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58561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09437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BD9F85F-FC85-6E91-ADD3-38F0F5BEE2E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381618" y="3058561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8FF7CC5C-A250-D817-B1E6-EBD584F08B1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381618" y="4762500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416EBE0-0E9C-366F-583C-0BE751DA2B3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81618" y="1323037"/>
            <a:ext cx="1163957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2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4C60C05-9B2E-E5AA-E325-3B56BC1B45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74594" y="1309437"/>
            <a:ext cx="2877873" cy="126231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379598-B132-493E-3A4A-13641BF453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74594" y="3058562"/>
            <a:ext cx="2877873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387A7EC-6D77-1F31-248D-AF22142944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674593" y="4762500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9C6738A-ED82-E7BB-C9BF-8057E77ED4B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77613" y="3072162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24967257-4251-A48B-9DE6-F07EC4EC036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377613" y="4776100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4A6B1635-0D2E-93F5-D353-C9B1B58E77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77613" y="1323037"/>
            <a:ext cx="1236501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0541A3D3-1296-6D28-80F6-210E0C8616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377613" y="3082625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EE31C9DF-6A33-F9E3-7394-0B59091621E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377613" y="4786563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CAAA857-D33B-2769-F70D-96215C29A41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6377613" y="1333500"/>
            <a:ext cx="1145388" cy="123825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412D36A-B5BE-A294-20DF-30B55A06C5A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764207" y="1333500"/>
            <a:ext cx="2921430" cy="126231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ED900610-36FC-D7DA-7651-CC7E3D3200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764207" y="3082625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FEAE0F0-F94C-F405-C850-B3545368F69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764207" y="4786563"/>
            <a:ext cx="2921430" cy="1230153"/>
          </a:xfrm>
          <a:prstGeom prst="rect">
            <a:avLst/>
          </a:prstGeom>
        </p:spPr>
        <p:txBody>
          <a:bodyPr/>
          <a:lstStyle>
            <a:lvl1pPr defTabSz="580528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63767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329334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493101" indent="-163767" defTabSz="58052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52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37074996"/>
      </p:ext>
    </p:extLst>
  </p:cSld>
  <p:clrMapOvr>
    <a:masterClrMapping/>
  </p:clrMapOvr>
  <p:transition spd="med"/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228679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562766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625304184"/>
      </p:ext>
    </p:extLst>
  </p:cSld>
  <p:clrMapOvr>
    <a:masterClrMapping/>
  </p:clrMapOvr>
  <p:transition spd="med"/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930254"/>
      </p:ext>
    </p:extLst>
  </p:cSld>
  <p:clrMapOvr>
    <a:masterClrMapping/>
  </p:clrMapOvr>
  <p:transition spd="med"/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0" cy="763524"/>
          </a:xfrm>
        </p:spPr>
        <p:txBody>
          <a:bodyPr/>
          <a:lstStyle>
            <a:lvl1pPr>
              <a:lnSpc>
                <a:spcPct val="100000"/>
              </a:lnSpc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615205"/>
      </p:ext>
    </p:extLst>
  </p:cSld>
  <p:clrMapOvr>
    <a:masterClrMapping/>
  </p:clrMapOvr>
  <p:transition spd="med"/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600"/>
            <a:ext cx="2477765" cy="14295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</p:spTree>
    <p:extLst>
      <p:ext uri="{BB962C8B-B14F-4D97-AF65-F5344CB8AC3E}">
        <p14:creationId xmlns:p14="http://schemas.microsoft.com/office/powerpoint/2010/main" val="2483652182"/>
      </p:ext>
    </p:extLst>
  </p:cSld>
  <p:clrMapOvr>
    <a:masterClrMapping/>
  </p:clrMapOvr>
  <p:transition spd="med"/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062915"/>
      </p:ext>
    </p:extLst>
  </p:cSld>
  <p:clrMapOvr>
    <a:masterClrMapping/>
  </p:clrMapOvr>
  <p:transition spd="med"/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403050203000203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0057826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10313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6047133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0079" y="6047133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41701" y="6268060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353906"/>
      </p:ext>
    </p:extLst>
  </p:cSld>
  <p:clrMapOvr>
    <a:masterClrMapping/>
  </p:clrMapOvr>
  <p:transition spd="med"/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5" tIns="45715" rIns="45715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10313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1A05E1-C4FC-6CB8-4FF6-0C8D93ACE5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41701" y="6268060"/>
            <a:ext cx="819044" cy="3048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6047133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0079" y="6047133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8782013"/>
      </p:ext>
    </p:extLst>
  </p:cSld>
  <p:clrMapOvr>
    <a:masterClrMapping/>
  </p:clrMapOvr>
  <p:transition spd="med"/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10313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6B9281-0E53-739D-E17B-6D94770D30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41701" y="6268060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521365"/>
      </p:ext>
    </p:extLst>
  </p:cSld>
  <p:clrMapOvr>
    <a:masterClrMapping/>
  </p:clrMapOvr>
  <p:transition spd="med"/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10313"/>
            <a:ext cx="5524575" cy="2286793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4126" y="6239239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2DCEBD-8062-3355-4A71-D28385043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41701" y="6268060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330353"/>
      </p:ext>
    </p:extLst>
  </p:cSld>
  <p:clrMapOvr>
    <a:masterClrMapping/>
  </p:clrMapOvr>
  <p:transition spd="med"/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29" y="210312"/>
            <a:ext cx="5049879" cy="52395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4479" y="626714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06327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70048" y="6452314"/>
            <a:ext cx="134652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4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50686381"/>
      </p:ext>
    </p:extLst>
  </p:cSld>
  <p:clrMapOvr>
    <a:masterClrMapping/>
  </p:clrMapOvr>
  <p:transition spd="med"/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855663"/>
            <a:ext cx="5049180" cy="4668837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126" y="285750"/>
            <a:ext cx="5049180" cy="285751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1E1290-FE86-28FE-CC32-A32973D2D1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4479" y="626714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370191"/>
      </p:ext>
    </p:extLst>
  </p:cSld>
  <p:clrMapOvr>
    <a:masterClrMapping/>
  </p:clrMapOvr>
  <p:transition spd="med"/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24029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0" y="284958"/>
            <a:ext cx="2474591" cy="5715793"/>
          </a:xfrm>
        </p:spPr>
        <p:txBody>
          <a:bodyPr/>
          <a:lstStyle>
            <a:lvl1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F4D3A79-AFC3-BF88-B6CC-E6183F615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7910" y="6450370"/>
            <a:ext cx="136791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2DCF13-4170-1EDA-F05B-655609585EC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537544445"/>
      </p:ext>
    </p:extLst>
  </p:cSld>
  <p:clrMapOvr>
    <a:masterClrMapping/>
  </p:clrMapOvr>
  <p:transition spd="med"/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24028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B1796CE7-FE67-2667-09E7-6A5DEF68AE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67910" y="6450370"/>
            <a:ext cx="136791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A44BF-58DD-7FDA-8FF0-96DD7616B7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3050162988"/>
      </p:ext>
    </p:extLst>
  </p:cSld>
  <p:clrMapOvr>
    <a:masterClrMapping/>
  </p:clrMapOvr>
  <p:transition spd="med"/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190501"/>
            <a:ext cx="8569796" cy="4095751"/>
          </a:xfrm>
        </p:spPr>
        <p:txBody>
          <a:bodyPr/>
          <a:lstStyle>
            <a:lvl1pPr>
              <a:defRPr sz="86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0C9739F-E9DC-E9F7-C95C-1CC2D2A4AD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67910" y="6450370"/>
            <a:ext cx="136791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59283E-393C-983A-4DEF-680312DA49C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929506803"/>
      </p:ext>
    </p:extLst>
  </p:cSld>
  <p:clrMapOvr>
    <a:masterClrMapping/>
  </p:clrMapOvr>
  <p:transition spd="med"/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24028"/>
            <a:ext cx="4953943" cy="1429544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4383" y="224029"/>
            <a:ext cx="5520317" cy="4287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 marL="292601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2pPr>
            <a:lvl3pPr marL="548626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3pPr>
            <a:lvl4pPr marL="877802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8A15A1C-3CA6-9F1A-8EB1-9457489FC9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2A9BFF-2196-C7EB-8D92-65A91971211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1039951462"/>
      </p:ext>
    </p:extLst>
  </p:cSld>
  <p:clrMapOvr>
    <a:masterClrMapping/>
  </p:clrMapOvr>
  <p:transition spd="med"/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5" y="201168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1AC698F3-E0DB-1FF3-7445-7480226D1D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67910" y="6450370"/>
            <a:ext cx="136791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937611-FC61-E2BE-9D7D-38E4AAB40E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300535778"/>
      </p:ext>
    </p:extLst>
  </p:cSld>
  <p:clrMapOvr>
    <a:masterClrMapping/>
  </p:clrMapOvr>
  <p:transition spd="med"/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126" y="4648200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0919" y="4648200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CC6925-298E-960E-CA92-0BC8FB18CE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84957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7" y="284957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1E6B91-2983-AF71-00DD-3FBCA7243F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76698"/>
      </p:ext>
    </p:extLst>
  </p:cSld>
  <p:clrMapOvr>
    <a:masterClrMapping/>
  </p:clrMapOvr>
  <p:transition spd="med"/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3301" y="21324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28523" y="214827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13229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705BEB-F3AA-BF3A-70A5-738D5EE71F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00751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6653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167327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48036" y="1166534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AAEFAA-EB42-1E87-74E6-FE0BC9198F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634572263"/>
      </p:ext>
    </p:extLst>
  </p:cSld>
  <p:clrMapOvr>
    <a:masterClrMapping/>
  </p:clrMapOvr>
  <p:transition spd="med"/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01" y="201168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E26407-6C5D-60C9-0C0E-7B195B9AB4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201169"/>
            <a:ext cx="5523781" cy="26677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01" y="3238500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3238500"/>
            <a:ext cx="5523781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180B3-2893-7D56-D6DE-1FBBB98BCFF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779046776"/>
      </p:ext>
    </p:extLst>
  </p:cSld>
  <p:clrMapOvr>
    <a:masterClrMapping/>
  </p:clrMapOvr>
  <p:transition spd="med"/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3316" y="205740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705BEB-F3AA-BF3A-70A5-738D5EE71F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00751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84956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90750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86250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316" y="2093977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18" y="4201669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C83D42-3DD5-2001-8C3E-782B4D95A03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936895792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2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7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7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7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6" y="30607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6" y="4762501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89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6" y="1333500"/>
            <a:ext cx="2853953" cy="12382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90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8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71" indent="-127990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254156"/>
      </p:ext>
    </p:extLst>
  </p:cSld>
  <p:clrMapOvr>
    <a:masterClrMapping/>
  </p:clrMapOvr>
  <p:transition spd="med"/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126" y="1714500"/>
            <a:ext cx="2477765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5F833F-819E-FEB3-6037-605097B842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098300451"/>
      </p:ext>
    </p:extLst>
  </p:cSld>
  <p:clrMapOvr>
    <a:masterClrMapping/>
  </p:clrMapOvr>
  <p:transition spd="med"/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4958"/>
            <a:ext cx="2477765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6507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21FF02-34C5-308A-3988-828D780376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1714500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6093683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9142809" y="1714500"/>
            <a:ext cx="0" cy="428853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143923"/>
      </p:ext>
    </p:extLst>
  </p:cSld>
  <p:clrMapOvr>
    <a:masterClrMapping/>
  </p:clrMapOvr>
  <p:transition spd="med"/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4958"/>
            <a:ext cx="2477765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8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8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DE0B47-A14A-7711-58D6-E30775CBE07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314563"/>
      </p:ext>
    </p:extLst>
  </p:cSld>
  <p:clrMapOvr>
    <a:masterClrMapping/>
  </p:clrMapOvr>
  <p:transition spd="med"/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1048544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676393-AEDE-7EDE-3939-625DBAB04E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126" y="1714500"/>
            <a:ext cx="2477765" cy="20002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59" y="1714500"/>
            <a:ext cx="2470739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317" y="284956"/>
            <a:ext cx="571425" cy="570707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7346" y="284956"/>
            <a:ext cx="571425" cy="570707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4" y="286147"/>
            <a:ext cx="571425" cy="570707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159699"/>
      </p:ext>
    </p:extLst>
  </p:cSld>
  <p:clrMapOvr>
    <a:masterClrMapping/>
  </p:clrMapOvr>
  <p:transition spd="med"/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01168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5047593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01168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4193159743"/>
      </p:ext>
    </p:extLst>
  </p:cSld>
  <p:clrMapOvr>
    <a:masterClrMapping/>
  </p:clrMapOvr>
  <p:transition spd="med"/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7"/>
            <a:ext cx="3711980" cy="953295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734B11-1656-9EAF-DD45-A5D6A33842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126" y="1714500"/>
            <a:ext cx="5049180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1714500"/>
            <a:ext cx="5047593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422774409"/>
      </p:ext>
    </p:extLst>
  </p:cSld>
  <p:clrMapOvr>
    <a:masterClrMapping/>
  </p:clrMapOvr>
  <p:transition spd="med"/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24029"/>
            <a:ext cx="5522193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4A615-A6A2-86F8-03A2-CEF572275C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847289616"/>
      </p:ext>
    </p:extLst>
  </p:cSld>
  <p:clrMapOvr>
    <a:masterClrMapping/>
  </p:clrMapOvr>
  <p:transition spd="med"/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8"/>
            <a:ext cx="2476177" cy="228679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4A615-A6A2-86F8-03A2-CEF572275C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3238191293"/>
      </p:ext>
    </p:extLst>
  </p:cSld>
  <p:clrMapOvr>
    <a:masterClrMapping/>
  </p:clrMapOvr>
  <p:transition spd="med"/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99" y="224029"/>
            <a:ext cx="5519020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551101-FB7D-9102-EFD1-3EDEE9F31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8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8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8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288396365"/>
      </p:ext>
    </p:extLst>
  </p:cSld>
  <p:clrMapOvr>
    <a:masterClrMapping/>
  </p:clrMapOvr>
  <p:transition spd="med"/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8"/>
            <a:ext cx="2474591" cy="2286793"/>
          </a:xfrm>
        </p:spPr>
        <p:txBody>
          <a:bodyPr rIns="0"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551101-FB7D-9102-EFD1-3EDEE9F31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8"/>
            <a:ext cx="2476177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8"/>
            <a:ext cx="2479352" cy="76279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31698" y="1714500"/>
            <a:ext cx="2476177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001646698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228679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7"/>
            <a:ext cx="8571384" cy="5715794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843785"/>
      </p:ext>
    </p:extLst>
  </p:cSld>
  <p:clrMapOvr>
    <a:masterClrMapping/>
  </p:clrMapOvr>
  <p:transition spd="med"/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01168"/>
            <a:ext cx="2474591" cy="570707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714500"/>
            <a:ext cx="2476177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1714500"/>
            <a:ext cx="2479352" cy="4286251"/>
          </a:xfrm>
        </p:spPr>
        <p:txBody>
          <a:bodyPr/>
          <a:lstStyle>
            <a:lvl1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91438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82875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74313" indent="-91438"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1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01168"/>
            <a:ext cx="2477765" cy="57070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defRPr sz="1400"/>
            </a:lvl3pPr>
            <a:lvl4pPr>
              <a:lnSpc>
                <a:spcPct val="90000"/>
              </a:lnSpc>
              <a:spcBef>
                <a:spcPts val="0"/>
              </a:spcBef>
              <a:defRPr sz="1400"/>
            </a:lvl4pPr>
            <a:lvl5pPr>
              <a:lnSpc>
                <a:spcPct val="9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4956"/>
            <a:ext cx="571425" cy="570707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28524" y="284956"/>
            <a:ext cx="571425" cy="570707"/>
          </a:xfrm>
        </p:spPr>
        <p:txBody>
          <a:bodyPr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609368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910610"/>
      </p:ext>
    </p:extLst>
  </p:cSld>
  <p:clrMapOvr>
    <a:masterClrMapping/>
  </p:clrMapOvr>
  <p:transition spd="med"/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1EAF36-C07D-DC5F-83A7-C84A1CC9D6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127" y="1238251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125" y="4191000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191000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4919" y="284956"/>
            <a:ext cx="573013" cy="570707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20" y="284956"/>
            <a:ext cx="571425" cy="570707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4919" y="3238501"/>
            <a:ext cx="573013" cy="5715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3238501"/>
            <a:ext cx="571425" cy="5715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441982"/>
      </p:ext>
    </p:extLst>
  </p:cSld>
  <p:clrMapOvr>
    <a:masterClrMapping/>
  </p:clrMapOvr>
  <p:transition spd="med"/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855663"/>
            <a:ext cx="2857128" cy="1138428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4126" y="284956"/>
            <a:ext cx="2477765" cy="570707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7812880"/>
      </p:ext>
    </p:extLst>
  </p:cSld>
  <p:clrMapOvr>
    <a:masterClrMapping/>
  </p:clrMapOvr>
  <p:transition spd="med"/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763525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4126" y="284957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1024212"/>
      </p:ext>
    </p:extLst>
  </p:cSld>
  <p:clrMapOvr>
    <a:masterClrMapping/>
  </p:clrMapOvr>
  <p:transition spd="med"/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84957"/>
            <a:ext cx="2477765" cy="2286793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DD2EFD-B47D-5B95-E333-6FEC577D1B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301" y="332829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637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755167266"/>
      </p:ext>
    </p:extLst>
  </p:cSld>
  <p:clrMapOvr>
    <a:masterClrMapping/>
  </p:clrMapOvr>
  <p:transition spd="med"/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126" y="224029"/>
            <a:ext cx="5524575" cy="228679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DD2EFD-B47D-5B95-E333-6FEC577D1B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301" y="3328292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187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4637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3375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3197689189"/>
      </p:ext>
    </p:extLst>
  </p:cSld>
  <p:clrMapOvr>
    <a:masterClrMapping/>
  </p:clrMapOvr>
  <p:transition spd="med"/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2286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A3BD0-C0A1-6ADF-602A-13E61E2771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4956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4956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2556" y="283464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2556" y="3333751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192840817"/>
      </p:ext>
    </p:extLst>
  </p:cSld>
  <p:clrMapOvr>
    <a:masterClrMapping/>
  </p:clrMapOvr>
  <p:transition spd="med"/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B9E673-95F7-7EF4-87D5-476568C52D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66749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1" y="666749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28524" y="666749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3714751"/>
            <a:ext cx="2475384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0920" y="3714750"/>
            <a:ext cx="2475384" cy="189634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28524" y="3714751"/>
            <a:ext cx="2476177" cy="1905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109725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2pPr>
            <a:lvl3pPr marL="219451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3pPr>
            <a:lvl4pPr marL="329176" indent="-109725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33316" y="274639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20" y="274639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428523" y="274639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333316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80920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28523" y="3347317"/>
            <a:ext cx="201141" cy="201612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5" y="3048000"/>
            <a:ext cx="886027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655372"/>
      </p:ext>
    </p:extLst>
  </p:cSld>
  <p:clrMapOvr>
    <a:masterClrMapping/>
  </p:clrMapOvr>
  <p:transition spd="med"/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24028"/>
            <a:ext cx="5519019" cy="1706563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DFF798-3B8E-1F19-EBBE-BEB7423129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495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1698" y="28495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1698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254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6261816"/>
      </p:ext>
    </p:extLst>
  </p:cSld>
  <p:clrMapOvr>
    <a:masterClrMapping/>
  </p:clrMapOvr>
  <p:transition spd="med"/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1706563"/>
          </a:xfrm>
        </p:spPr>
        <p:txBody>
          <a:bodyPr rIns="0"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DFF798-3B8E-1F19-EBBE-BEB7423129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8495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1698" y="284958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31698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2540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317" y="3333751"/>
            <a:ext cx="2476177" cy="2477293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7301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048001"/>
            <a:ext cx="0" cy="29527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977417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784241"/>
      </p:ext>
    </p:extLst>
  </p:cSld>
  <p:clrMapOvr>
    <a:masterClrMapping/>
  </p:clrMapOvr>
  <p:transition spd="med"/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3525DFF-EC8A-8C67-14A3-80DE024D87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252026887"/>
      </p:ext>
    </p:extLst>
  </p:cSld>
  <p:clrMapOvr>
    <a:masterClrMapping/>
  </p:clrMapOvr>
  <p:transition spd="med"/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126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98745386"/>
      </p:ext>
    </p:extLst>
  </p:cSld>
  <p:clrMapOvr>
    <a:masterClrMapping/>
  </p:clrMapOvr>
  <p:transition spd="med"/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785109849"/>
      </p:ext>
    </p:extLst>
  </p:cSld>
  <p:clrMapOvr>
    <a:masterClrMapping/>
  </p:clrMapOvr>
  <p:transition spd="med"/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635961174"/>
      </p:ext>
    </p:extLst>
  </p:cSld>
  <p:clrMapOvr>
    <a:masterClrMapping/>
  </p:clrMapOvr>
  <p:transition spd="med"/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281197575"/>
      </p:ext>
    </p:extLst>
  </p:cSld>
  <p:clrMapOvr>
    <a:masterClrMapping/>
  </p:clrMapOvr>
  <p:transition spd="med"/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607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4126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62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4126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607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62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333500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548755"/>
      </p:ext>
    </p:extLst>
  </p:cSld>
  <p:clrMapOvr>
    <a:masterClrMapping/>
  </p:clrMapOvr>
  <p:transition spd="med"/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7"/>
            <a:ext cx="2474591" cy="2286793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333316" y="284958"/>
            <a:ext cx="8571384" cy="5715793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025817794"/>
      </p:ext>
    </p:extLst>
  </p:cSld>
  <p:clrMapOvr>
    <a:masterClrMapping/>
  </p:clrMapOvr>
  <p:transition spd="med"/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1" y="284956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421593873"/>
      </p:ext>
    </p:extLst>
  </p:cSld>
  <p:clrMapOvr>
    <a:masterClrMapping/>
  </p:clrMapOvr>
  <p:transition spd="med"/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28863-5461-63E4-5E4C-381DE7E84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4126" y="284956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1216982898"/>
      </p:ext>
    </p:extLst>
  </p:cSld>
  <p:clrMapOvr>
    <a:masterClrMapping/>
  </p:clrMapOvr>
  <p:transition spd="med"/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28863-5461-63E4-5E4C-381DE7E84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0369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4126" y="284956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4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SKO1 / Copyright © 2024 IBM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20" y="284958"/>
            <a:ext cx="2476177" cy="5715793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</p:spTree>
    <p:extLst>
      <p:ext uri="{BB962C8B-B14F-4D97-AF65-F5344CB8AC3E}">
        <p14:creationId xmlns:p14="http://schemas.microsoft.com/office/powerpoint/2010/main" val="2769807966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0" y="210312"/>
            <a:ext cx="8569797" cy="4095750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5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73531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90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700502"/>
      </p:ext>
    </p:extLst>
  </p:cSld>
  <p:clrMapOvr>
    <a:masterClrMapping/>
  </p:clrMapOvr>
  <p:transition spd="med"/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2361" y="3093070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842916"/>
      </p:ext>
    </p:extLst>
  </p:cSld>
  <p:clrMapOvr>
    <a:masterClrMapping/>
  </p:clrMapOvr>
  <p:transition spd="med"/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192600"/>
            <a:ext cx="2474591" cy="762795"/>
          </a:xfrm>
        </p:spPr>
        <p:txBody>
          <a:bodyPr/>
          <a:lstStyle>
            <a:lvl1pPr>
              <a:lnSpc>
                <a:spcPct val="100000"/>
              </a:lnSpc>
              <a:defRPr sz="32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3316" y="288037"/>
            <a:ext cx="2477765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88037"/>
            <a:ext cx="2476177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88037"/>
            <a:ext cx="2479352" cy="7627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00000"/>
              </a:lnSpc>
              <a:spcBef>
                <a:spcPts val="0"/>
              </a:spcBef>
              <a:defRPr sz="22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3047603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5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8"/>
            <a:ext cx="2477765" cy="190500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2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28523" y="1714500"/>
            <a:ext cx="2481639" cy="4286251"/>
          </a:xfrm>
          <a:prstGeom prst="rect">
            <a:avLst/>
          </a:prstGeom>
        </p:spPr>
        <p:txBody>
          <a:bodyPr/>
          <a:lstStyle>
            <a:lvl1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580629">
              <a:lnSpc>
                <a:spcPct val="100000"/>
              </a:lnSpc>
              <a:spcBef>
                <a:spcPts val="0"/>
              </a:spcBef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6218745"/>
      </p:ext>
    </p:extLst>
  </p:cSld>
  <p:clrMapOvr>
    <a:masterClrMapping/>
  </p:clrMapOvr>
  <p:transition spd="med"/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7450" y="167639"/>
            <a:ext cx="11637101" cy="369332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  <a:latin typeface="IBMPlexSans-Light"/>
                <a:cs typeface="IBMPlexSans-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686577" y="2734564"/>
            <a:ext cx="4897120" cy="246221"/>
          </a:xfrm>
        </p:spPr>
        <p:txBody>
          <a:bodyPr lIns="0" tIns="0" rIns="0" bIns="0"/>
          <a:lstStyle>
            <a:lvl1pPr>
              <a:defRPr sz="1600" b="0" i="0">
                <a:solidFill>
                  <a:schemeClr val="tx1"/>
                </a:solidFill>
                <a:latin typeface="IBMPlexSans-Light"/>
                <a:cs typeface="IBMPlexSans-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4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840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36"/>
            <a:ext cx="2474589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1714500"/>
            <a:ext cx="2477765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7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5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1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316" y="1714500"/>
            <a:ext cx="2475384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7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5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1" indent="-127987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10" descr="Place imagery here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20" y="284958"/>
            <a:ext cx="5523781" cy="628729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Data and AI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80301988"/>
      </p:ext>
    </p:extLst>
  </p:cSld>
  <p:clrMapOvr>
    <a:masterClrMapping/>
  </p:clrMapOvr>
  <p:transition spd="med"/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7" y="3429001"/>
            <a:ext cx="5050131" cy="1451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7" y="5143500"/>
            <a:ext cx="5050131" cy="854869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9" cy="2070856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</p:spTree>
    <p:extLst>
      <p:ext uri="{BB962C8B-B14F-4D97-AF65-F5344CB8AC3E}">
        <p14:creationId xmlns:p14="http://schemas.microsoft.com/office/powerpoint/2010/main" val="86015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F79CF1-BB23-64AA-9C92-5A1EAE747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697" y="3429001"/>
            <a:ext cx="5050131" cy="1451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6B8B5A-0A46-AB09-F47C-0B0DF9DF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2697" y="5143500"/>
            <a:ext cx="5050131" cy="854869"/>
          </a:xfrm>
        </p:spPr>
        <p:txBody>
          <a:bodyPr anchor="b" anchorCtr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9" cy="2070856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1AC2598-525B-204C-95FB-62C1BD803BA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E16743-7FE4-7DB0-AE65-92E8AEA8C0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7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8B38A97-2CAA-48A7-79F9-9B76C797D4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9" cy="2070856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69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9C574D-E3CA-271A-2D3C-AB862EF9A94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BAE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5" tIns="45715" rIns="45715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0F0B5B-6B52-3139-61A7-7B7287D71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0" y="1093032"/>
            <a:ext cx="5049879" cy="2070856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F1A637DE-FA28-1BBA-ED19-561BF47FC9A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985145-6140-8167-8472-4F70B1B08F56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D933579-F84C-4074-BCE8-A5F3C6A8C115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61EFE4-D8E6-B1E2-379D-12B26CE8F152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B4E91B9-0A97-3141-A66A-E824B4E354B8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C6552B-CC29-F330-6668-3C653EA3A00C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266CF2-A3CF-C8D9-7BB9-06D2E42E9729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44B8FF-4796-89E0-ECF1-D2DAE08721F7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2DF0011-F527-8047-800F-7E155446FCD6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3871B77-82D8-9E96-7FDF-19E07894D012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EB9A85-89C6-1EC3-5478-A8F89D67749A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D9AA833-AD83-E679-5D6E-186A8D02B00C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BEADA96-1A80-9EB1-DBCA-0EBF9FDAB801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08DAAAF-22D3-8686-027F-301825BDAA00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BF8AFFD-1B6C-839E-B09F-AF5203BE810E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1A3A660-2669-7441-98EB-FAD490EB52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F499E7-AF36-EB29-41AC-05CB387D9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BDFC3-C8D8-6AF1-3ADA-2CB71F0FE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9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grey,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0E0E0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5" tIns="45715" rIns="45715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1"/>
            <a:ext cx="819044" cy="3048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77CB7A-A231-1534-5954-080B621EA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093032"/>
            <a:ext cx="2498940" cy="3193219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aphic 5">
            <a:extLst>
              <a:ext uri="{FF2B5EF4-FFF2-40B4-BE49-F238E27FC236}">
                <a16:creationId xmlns:a16="http://schemas.microsoft.com/office/drawing/2014/main" id="{E6726568-1AAC-4883-1825-DDEDA18BDBEA}"/>
              </a:ext>
            </a:extLst>
          </p:cNvPr>
          <p:cNvGrpSpPr/>
          <p:nvPr userDrawn="1"/>
        </p:nvGrpSpPr>
        <p:grpSpPr>
          <a:xfrm>
            <a:off x="299135" y="288037"/>
            <a:ext cx="1878949" cy="218297"/>
            <a:chOff x="6597650" y="8572457"/>
            <a:chExt cx="11188016" cy="1299659"/>
          </a:xfrm>
          <a:solidFill>
            <a:srgbClr val="000000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7A01B9C-EA60-8D4D-AB93-C092DBE754AD}"/>
                </a:ext>
              </a:extLst>
            </p:cNvPr>
            <p:cNvSpPr/>
            <p:nvPr/>
          </p:nvSpPr>
          <p:spPr>
            <a:xfrm>
              <a:off x="11603037" y="8572457"/>
              <a:ext cx="633888" cy="1010097"/>
            </a:xfrm>
            <a:custGeom>
              <a:avLst/>
              <a:gdLst>
                <a:gd name="connsiteX0" fmla="*/ 95 w 633888"/>
                <a:gd name="connsiteY0" fmla="*/ 42 h 1010097"/>
                <a:gd name="connsiteX1" fmla="*/ 202502 w 633888"/>
                <a:gd name="connsiteY1" fmla="*/ 42 h 1010097"/>
                <a:gd name="connsiteX2" fmla="*/ 204216 w 633888"/>
                <a:gd name="connsiteY2" fmla="*/ 419904 h 1010097"/>
                <a:gd name="connsiteX3" fmla="*/ 276320 w 633888"/>
                <a:gd name="connsiteY3" fmla="*/ 318463 h 1010097"/>
                <a:gd name="connsiteX4" fmla="*/ 591884 w 633888"/>
                <a:gd name="connsiteY4" fmla="*/ 373899 h 1010097"/>
                <a:gd name="connsiteX5" fmla="*/ 633793 w 633888"/>
                <a:gd name="connsiteY5" fmla="*/ 562303 h 1010097"/>
                <a:gd name="connsiteX6" fmla="*/ 633889 w 633888"/>
                <a:gd name="connsiteY6" fmla="*/ 1010073 h 1010097"/>
                <a:gd name="connsiteX7" fmla="*/ 431482 w 633888"/>
                <a:gd name="connsiteY7" fmla="*/ 1010073 h 1010097"/>
                <a:gd name="connsiteX8" fmla="*/ 431102 w 633888"/>
                <a:gd name="connsiteY8" fmla="*/ 561827 h 1010097"/>
                <a:gd name="connsiteX9" fmla="*/ 376333 w 633888"/>
                <a:gd name="connsiteY9" fmla="*/ 448765 h 1010097"/>
                <a:gd name="connsiteX10" fmla="*/ 203454 w 633888"/>
                <a:gd name="connsiteY10" fmla="*/ 533538 h 1010097"/>
                <a:gd name="connsiteX11" fmla="*/ 202502 w 633888"/>
                <a:gd name="connsiteY11" fmla="*/ 1010073 h 1010097"/>
                <a:gd name="connsiteX12" fmla="*/ 0 w 633888"/>
                <a:gd name="connsiteY12" fmla="*/ 1009978 h 1010097"/>
                <a:gd name="connsiteX13" fmla="*/ 95 w 633888"/>
                <a:gd name="connsiteY13" fmla="*/ 42 h 101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888" h="1010097">
                  <a:moveTo>
                    <a:pt x="95" y="42"/>
                  </a:moveTo>
                  <a:cubicBezTo>
                    <a:pt x="67533" y="-53"/>
                    <a:pt x="134969" y="42"/>
                    <a:pt x="202502" y="42"/>
                  </a:cubicBezTo>
                  <a:cubicBezTo>
                    <a:pt x="203549" y="139965"/>
                    <a:pt x="200311" y="280077"/>
                    <a:pt x="204216" y="419904"/>
                  </a:cubicBezTo>
                  <a:cubicBezTo>
                    <a:pt x="224504" y="383709"/>
                    <a:pt x="241364" y="343419"/>
                    <a:pt x="276320" y="318463"/>
                  </a:cubicBezTo>
                  <a:cubicBezTo>
                    <a:pt x="371284" y="247692"/>
                    <a:pt x="531781" y="265695"/>
                    <a:pt x="591884" y="373899"/>
                  </a:cubicBezTo>
                  <a:cubicBezTo>
                    <a:pt x="624840" y="430668"/>
                    <a:pt x="633413" y="497724"/>
                    <a:pt x="633793" y="562303"/>
                  </a:cubicBezTo>
                  <a:cubicBezTo>
                    <a:pt x="633984" y="711560"/>
                    <a:pt x="633793" y="860817"/>
                    <a:pt x="633889" y="1010073"/>
                  </a:cubicBezTo>
                  <a:lnTo>
                    <a:pt x="431482" y="1010073"/>
                  </a:lnTo>
                  <a:cubicBezTo>
                    <a:pt x="431197" y="860626"/>
                    <a:pt x="432054" y="711179"/>
                    <a:pt x="431102" y="561827"/>
                  </a:cubicBezTo>
                  <a:cubicBezTo>
                    <a:pt x="429959" y="519441"/>
                    <a:pt x="420624" y="466386"/>
                    <a:pt x="376333" y="448765"/>
                  </a:cubicBezTo>
                  <a:cubicBezTo>
                    <a:pt x="310801" y="425334"/>
                    <a:pt x="211836" y="455052"/>
                    <a:pt x="203454" y="533538"/>
                  </a:cubicBezTo>
                  <a:cubicBezTo>
                    <a:pt x="201168" y="692319"/>
                    <a:pt x="203168" y="851196"/>
                    <a:pt x="202502" y="1010073"/>
                  </a:cubicBezTo>
                  <a:cubicBezTo>
                    <a:pt x="134969" y="1010073"/>
                    <a:pt x="67533" y="1010169"/>
                    <a:pt x="0" y="1009978"/>
                  </a:cubicBezTo>
                  <a:cubicBezTo>
                    <a:pt x="191" y="673365"/>
                    <a:pt x="95" y="336656"/>
                    <a:pt x="95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306717C-6924-0C8A-21A0-C569E6AAC0DC}"/>
                </a:ext>
              </a:extLst>
            </p:cNvPr>
            <p:cNvSpPr/>
            <p:nvPr/>
          </p:nvSpPr>
          <p:spPr>
            <a:xfrm>
              <a:off x="14012576" y="8572457"/>
              <a:ext cx="634202" cy="1010164"/>
            </a:xfrm>
            <a:custGeom>
              <a:avLst/>
              <a:gdLst>
                <a:gd name="connsiteX0" fmla="*/ 381 w 634202"/>
                <a:gd name="connsiteY0" fmla="*/ 42 h 1010164"/>
                <a:gd name="connsiteX1" fmla="*/ 202788 w 634202"/>
                <a:gd name="connsiteY1" fmla="*/ 42 h 1010164"/>
                <a:gd name="connsiteX2" fmla="*/ 204502 w 634202"/>
                <a:gd name="connsiteY2" fmla="*/ 419904 h 1010164"/>
                <a:gd name="connsiteX3" fmla="*/ 271558 w 634202"/>
                <a:gd name="connsiteY3" fmla="*/ 322559 h 1010164"/>
                <a:gd name="connsiteX4" fmla="*/ 596265 w 634202"/>
                <a:gd name="connsiteY4" fmla="*/ 381233 h 1010164"/>
                <a:gd name="connsiteX5" fmla="*/ 634175 w 634202"/>
                <a:gd name="connsiteY5" fmla="*/ 562303 h 1010164"/>
                <a:gd name="connsiteX6" fmla="*/ 634175 w 634202"/>
                <a:gd name="connsiteY6" fmla="*/ 1010073 h 1010164"/>
                <a:gd name="connsiteX7" fmla="*/ 431768 w 634202"/>
                <a:gd name="connsiteY7" fmla="*/ 1010073 h 1010164"/>
                <a:gd name="connsiteX8" fmla="*/ 431388 w 634202"/>
                <a:gd name="connsiteY8" fmla="*/ 562303 h 1010164"/>
                <a:gd name="connsiteX9" fmla="*/ 376333 w 634202"/>
                <a:gd name="connsiteY9" fmla="*/ 448575 h 1010164"/>
                <a:gd name="connsiteX10" fmla="*/ 203835 w 634202"/>
                <a:gd name="connsiteY10" fmla="*/ 533347 h 1010164"/>
                <a:gd name="connsiteX11" fmla="*/ 202788 w 634202"/>
                <a:gd name="connsiteY11" fmla="*/ 1010073 h 1010164"/>
                <a:gd name="connsiteX12" fmla="*/ 0 w 634202"/>
                <a:gd name="connsiteY12" fmla="*/ 1009597 h 1010164"/>
                <a:gd name="connsiteX13" fmla="*/ 381 w 634202"/>
                <a:gd name="connsiteY13" fmla="*/ 42 h 1010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202" h="1010164">
                  <a:moveTo>
                    <a:pt x="381" y="42"/>
                  </a:moveTo>
                  <a:cubicBezTo>
                    <a:pt x="67819" y="-53"/>
                    <a:pt x="135255" y="42"/>
                    <a:pt x="202788" y="42"/>
                  </a:cubicBezTo>
                  <a:cubicBezTo>
                    <a:pt x="203835" y="139965"/>
                    <a:pt x="200597" y="280077"/>
                    <a:pt x="204502" y="419904"/>
                  </a:cubicBezTo>
                  <a:cubicBezTo>
                    <a:pt x="223933" y="385710"/>
                    <a:pt x="239363" y="347419"/>
                    <a:pt x="271558" y="322559"/>
                  </a:cubicBezTo>
                  <a:cubicBezTo>
                    <a:pt x="367856" y="244644"/>
                    <a:pt x="538544" y="265314"/>
                    <a:pt x="596265" y="381233"/>
                  </a:cubicBezTo>
                  <a:cubicBezTo>
                    <a:pt x="625888" y="436573"/>
                    <a:pt x="633794" y="500391"/>
                    <a:pt x="634175" y="562303"/>
                  </a:cubicBezTo>
                  <a:cubicBezTo>
                    <a:pt x="634270" y="711560"/>
                    <a:pt x="634079" y="860817"/>
                    <a:pt x="634175" y="1010073"/>
                  </a:cubicBezTo>
                  <a:lnTo>
                    <a:pt x="431768" y="1010073"/>
                  </a:lnTo>
                  <a:cubicBezTo>
                    <a:pt x="431483" y="860817"/>
                    <a:pt x="432245" y="711560"/>
                    <a:pt x="431388" y="562303"/>
                  </a:cubicBezTo>
                  <a:cubicBezTo>
                    <a:pt x="430340" y="519822"/>
                    <a:pt x="421005" y="466101"/>
                    <a:pt x="376333" y="448575"/>
                  </a:cubicBezTo>
                  <a:cubicBezTo>
                    <a:pt x="310801" y="425524"/>
                    <a:pt x="212408" y="455147"/>
                    <a:pt x="203835" y="533347"/>
                  </a:cubicBezTo>
                  <a:cubicBezTo>
                    <a:pt x="201359" y="692129"/>
                    <a:pt x="203454" y="851101"/>
                    <a:pt x="202788" y="1010073"/>
                  </a:cubicBezTo>
                  <a:cubicBezTo>
                    <a:pt x="135160" y="1009883"/>
                    <a:pt x="67533" y="1010645"/>
                    <a:pt x="0" y="1009597"/>
                  </a:cubicBezTo>
                  <a:cubicBezTo>
                    <a:pt x="858" y="673079"/>
                    <a:pt x="95" y="336561"/>
                    <a:pt x="381" y="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66FB8A-262C-8896-C2A0-05F728C44295}"/>
                </a:ext>
              </a:extLst>
            </p:cNvPr>
            <p:cNvSpPr/>
            <p:nvPr/>
          </p:nvSpPr>
          <p:spPr>
            <a:xfrm>
              <a:off x="6597650" y="8630030"/>
              <a:ext cx="382566" cy="952500"/>
            </a:xfrm>
            <a:custGeom>
              <a:avLst/>
              <a:gdLst>
                <a:gd name="connsiteX0" fmla="*/ 0 w 382566"/>
                <a:gd name="connsiteY0" fmla="*/ 0 h 952500"/>
                <a:gd name="connsiteX1" fmla="*/ 382524 w 382566"/>
                <a:gd name="connsiteY1" fmla="*/ 0 h 952500"/>
                <a:gd name="connsiteX2" fmla="*/ 382524 w 382566"/>
                <a:gd name="connsiteY2" fmla="*/ 95631 h 952500"/>
                <a:gd name="connsiteX3" fmla="*/ 248793 w 382566"/>
                <a:gd name="connsiteY3" fmla="*/ 95631 h 952500"/>
                <a:gd name="connsiteX4" fmla="*/ 248793 w 382566"/>
                <a:gd name="connsiteY4" fmla="*/ 856869 h 952500"/>
                <a:gd name="connsiteX5" fmla="*/ 382524 w 382566"/>
                <a:gd name="connsiteY5" fmla="*/ 856869 h 952500"/>
                <a:gd name="connsiteX6" fmla="*/ 382524 w 382566"/>
                <a:gd name="connsiteY6" fmla="*/ 952500 h 952500"/>
                <a:gd name="connsiteX7" fmla="*/ 0 w 382566"/>
                <a:gd name="connsiteY7" fmla="*/ 952500 h 952500"/>
                <a:gd name="connsiteX8" fmla="*/ 0 w 382566"/>
                <a:gd name="connsiteY8" fmla="*/ 856869 h 952500"/>
                <a:gd name="connsiteX9" fmla="*/ 133731 w 382566"/>
                <a:gd name="connsiteY9" fmla="*/ 856869 h 952500"/>
                <a:gd name="connsiteX10" fmla="*/ 133731 w 382566"/>
                <a:gd name="connsiteY10" fmla="*/ 95631 h 952500"/>
                <a:gd name="connsiteX11" fmla="*/ 0 w 382566"/>
                <a:gd name="connsiteY11" fmla="*/ 95631 h 952500"/>
                <a:gd name="connsiteX12" fmla="*/ 0 w 382566"/>
                <a:gd name="connsiteY12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2566" h="952500">
                  <a:moveTo>
                    <a:pt x="0" y="0"/>
                  </a:moveTo>
                  <a:lnTo>
                    <a:pt x="382524" y="0"/>
                  </a:lnTo>
                  <a:lnTo>
                    <a:pt x="382524" y="95631"/>
                  </a:lnTo>
                  <a:lnTo>
                    <a:pt x="248793" y="95631"/>
                  </a:lnTo>
                  <a:lnTo>
                    <a:pt x="248793" y="856869"/>
                  </a:lnTo>
                  <a:cubicBezTo>
                    <a:pt x="293370" y="856869"/>
                    <a:pt x="337947" y="856869"/>
                    <a:pt x="382524" y="856869"/>
                  </a:cubicBezTo>
                  <a:cubicBezTo>
                    <a:pt x="382524" y="888682"/>
                    <a:pt x="382619" y="920591"/>
                    <a:pt x="382524" y="952500"/>
                  </a:cubicBezTo>
                  <a:lnTo>
                    <a:pt x="0" y="952500"/>
                  </a:lnTo>
                  <a:cubicBezTo>
                    <a:pt x="0" y="920591"/>
                    <a:pt x="0" y="888682"/>
                    <a:pt x="0" y="856869"/>
                  </a:cubicBezTo>
                  <a:cubicBezTo>
                    <a:pt x="44577" y="856869"/>
                    <a:pt x="89154" y="856869"/>
                    <a:pt x="133731" y="856869"/>
                  </a:cubicBezTo>
                  <a:lnTo>
                    <a:pt x="133731" y="95631"/>
                  </a:lnTo>
                  <a:lnTo>
                    <a:pt x="0" y="95631"/>
                  </a:lnTo>
                  <a:cubicBezTo>
                    <a:pt x="0" y="63722"/>
                    <a:pt x="0" y="319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1D8D11-039B-0465-8C3D-ACC20C043823}"/>
                </a:ext>
              </a:extLst>
            </p:cNvPr>
            <p:cNvSpPr/>
            <p:nvPr/>
          </p:nvSpPr>
          <p:spPr>
            <a:xfrm>
              <a:off x="7188676" y="8629948"/>
              <a:ext cx="678881" cy="952722"/>
            </a:xfrm>
            <a:custGeom>
              <a:avLst/>
              <a:gdLst>
                <a:gd name="connsiteX0" fmla="*/ 0 w 678881"/>
                <a:gd name="connsiteY0" fmla="*/ 83 h 952722"/>
                <a:gd name="connsiteX1" fmla="*/ 409956 w 678881"/>
                <a:gd name="connsiteY1" fmla="*/ 464 h 952722"/>
                <a:gd name="connsiteX2" fmla="*/ 622554 w 678881"/>
                <a:gd name="connsiteY2" fmla="*/ 130575 h 952722"/>
                <a:gd name="connsiteX3" fmla="*/ 607886 w 678881"/>
                <a:gd name="connsiteY3" fmla="*/ 378130 h 952722"/>
                <a:gd name="connsiteX4" fmla="*/ 486347 w 678881"/>
                <a:gd name="connsiteY4" fmla="*/ 452711 h 952722"/>
                <a:gd name="connsiteX5" fmla="*/ 662940 w 678881"/>
                <a:gd name="connsiteY5" fmla="*/ 585394 h 952722"/>
                <a:gd name="connsiteX6" fmla="*/ 543878 w 678881"/>
                <a:gd name="connsiteY6" fmla="*/ 925246 h 952722"/>
                <a:gd name="connsiteX7" fmla="*/ 428530 w 678881"/>
                <a:gd name="connsiteY7" fmla="*/ 952678 h 952722"/>
                <a:gd name="connsiteX8" fmla="*/ 0 w 678881"/>
                <a:gd name="connsiteY8" fmla="*/ 952583 h 952722"/>
                <a:gd name="connsiteX9" fmla="*/ 0 w 678881"/>
                <a:gd name="connsiteY9" fmla="*/ 83 h 952722"/>
                <a:gd name="connsiteX10" fmla="*/ 115062 w 678881"/>
                <a:gd name="connsiteY10" fmla="*/ 101238 h 952722"/>
                <a:gd name="connsiteX11" fmla="*/ 115062 w 678881"/>
                <a:gd name="connsiteY11" fmla="*/ 412039 h 952722"/>
                <a:gd name="connsiteX12" fmla="*/ 400050 w 678881"/>
                <a:gd name="connsiteY12" fmla="*/ 410896 h 952722"/>
                <a:gd name="connsiteX13" fmla="*/ 519398 w 678881"/>
                <a:gd name="connsiteY13" fmla="*/ 313646 h 952722"/>
                <a:gd name="connsiteX14" fmla="*/ 513969 w 678881"/>
                <a:gd name="connsiteY14" fmla="*/ 180391 h 952722"/>
                <a:gd name="connsiteX15" fmla="*/ 389858 w 678881"/>
                <a:gd name="connsiteY15" fmla="*/ 101715 h 952722"/>
                <a:gd name="connsiteX16" fmla="*/ 115062 w 678881"/>
                <a:gd name="connsiteY16" fmla="*/ 101238 h 952722"/>
                <a:gd name="connsiteX17" fmla="*/ 115062 w 678881"/>
                <a:gd name="connsiteY17" fmla="*/ 510432 h 952722"/>
                <a:gd name="connsiteX18" fmla="*/ 115062 w 678881"/>
                <a:gd name="connsiteY18" fmla="*/ 851427 h 952722"/>
                <a:gd name="connsiteX19" fmla="*/ 400526 w 678881"/>
                <a:gd name="connsiteY19" fmla="*/ 851332 h 952722"/>
                <a:gd name="connsiteX20" fmla="*/ 520637 w 678881"/>
                <a:gd name="connsiteY20" fmla="*/ 805993 h 952722"/>
                <a:gd name="connsiteX21" fmla="*/ 555498 w 678881"/>
                <a:gd name="connsiteY21" fmla="*/ 705314 h 952722"/>
                <a:gd name="connsiteX22" fmla="*/ 529304 w 678881"/>
                <a:gd name="connsiteY22" fmla="*/ 566535 h 952722"/>
                <a:gd name="connsiteX23" fmla="*/ 400241 w 678881"/>
                <a:gd name="connsiteY23" fmla="*/ 510623 h 952722"/>
                <a:gd name="connsiteX24" fmla="*/ 115062 w 678881"/>
                <a:gd name="connsiteY24" fmla="*/ 510432 h 95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8881" h="952722">
                  <a:moveTo>
                    <a:pt x="0" y="83"/>
                  </a:moveTo>
                  <a:cubicBezTo>
                    <a:pt x="136684" y="369"/>
                    <a:pt x="273272" y="-489"/>
                    <a:pt x="409956" y="464"/>
                  </a:cubicBezTo>
                  <a:cubicBezTo>
                    <a:pt x="497015" y="1893"/>
                    <a:pt x="586931" y="48279"/>
                    <a:pt x="622554" y="130575"/>
                  </a:cubicBezTo>
                  <a:cubicBezTo>
                    <a:pt x="655701" y="208490"/>
                    <a:pt x="657416" y="306693"/>
                    <a:pt x="607886" y="378130"/>
                  </a:cubicBezTo>
                  <a:cubicBezTo>
                    <a:pt x="580073" y="419850"/>
                    <a:pt x="532067" y="438328"/>
                    <a:pt x="486347" y="452711"/>
                  </a:cubicBezTo>
                  <a:cubicBezTo>
                    <a:pt x="563213" y="461950"/>
                    <a:pt x="636365" y="510909"/>
                    <a:pt x="662940" y="585394"/>
                  </a:cubicBezTo>
                  <a:cubicBezTo>
                    <a:pt x="705898" y="706743"/>
                    <a:pt x="660654" y="862191"/>
                    <a:pt x="543878" y="925246"/>
                  </a:cubicBezTo>
                  <a:cubicBezTo>
                    <a:pt x="508730" y="944391"/>
                    <a:pt x="468440" y="953440"/>
                    <a:pt x="428530" y="952678"/>
                  </a:cubicBezTo>
                  <a:cubicBezTo>
                    <a:pt x="285655" y="952488"/>
                    <a:pt x="142875" y="952583"/>
                    <a:pt x="0" y="952583"/>
                  </a:cubicBezTo>
                  <a:lnTo>
                    <a:pt x="0" y="83"/>
                  </a:lnTo>
                  <a:moveTo>
                    <a:pt x="115062" y="101238"/>
                  </a:moveTo>
                  <a:lnTo>
                    <a:pt x="115062" y="412039"/>
                  </a:lnTo>
                  <a:cubicBezTo>
                    <a:pt x="210026" y="411277"/>
                    <a:pt x="305086" y="413658"/>
                    <a:pt x="400050" y="410896"/>
                  </a:cubicBezTo>
                  <a:cubicBezTo>
                    <a:pt x="455486" y="408896"/>
                    <a:pt x="510540" y="370605"/>
                    <a:pt x="519398" y="313646"/>
                  </a:cubicBezTo>
                  <a:cubicBezTo>
                    <a:pt x="523875" y="269640"/>
                    <a:pt x="527495" y="223158"/>
                    <a:pt x="513969" y="180391"/>
                  </a:cubicBezTo>
                  <a:cubicBezTo>
                    <a:pt x="496919" y="128956"/>
                    <a:pt x="441293" y="102000"/>
                    <a:pt x="389858" y="101715"/>
                  </a:cubicBezTo>
                  <a:cubicBezTo>
                    <a:pt x="298228" y="100572"/>
                    <a:pt x="206693" y="101715"/>
                    <a:pt x="115062" y="101238"/>
                  </a:cubicBezTo>
                  <a:moveTo>
                    <a:pt x="115062" y="510432"/>
                  </a:moveTo>
                  <a:lnTo>
                    <a:pt x="115062" y="851427"/>
                  </a:lnTo>
                  <a:cubicBezTo>
                    <a:pt x="210217" y="851332"/>
                    <a:pt x="305372" y="851523"/>
                    <a:pt x="400526" y="851332"/>
                  </a:cubicBezTo>
                  <a:cubicBezTo>
                    <a:pt x="443960" y="851046"/>
                    <a:pt x="490538" y="839235"/>
                    <a:pt x="520637" y="805993"/>
                  </a:cubicBezTo>
                  <a:cubicBezTo>
                    <a:pt x="545878" y="779133"/>
                    <a:pt x="555212" y="741318"/>
                    <a:pt x="555498" y="705314"/>
                  </a:cubicBezTo>
                  <a:cubicBezTo>
                    <a:pt x="556355" y="658356"/>
                    <a:pt x="558832" y="606349"/>
                    <a:pt x="529304" y="566535"/>
                  </a:cubicBezTo>
                  <a:cubicBezTo>
                    <a:pt x="500348" y="525768"/>
                    <a:pt x="448056" y="510718"/>
                    <a:pt x="400241" y="510623"/>
                  </a:cubicBezTo>
                  <a:cubicBezTo>
                    <a:pt x="305181" y="510147"/>
                    <a:pt x="210122" y="510623"/>
                    <a:pt x="115062" y="51043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1DD1D50-472C-4935-8B92-783AE9E5AC2F}"/>
                </a:ext>
              </a:extLst>
            </p:cNvPr>
            <p:cNvSpPr/>
            <p:nvPr/>
          </p:nvSpPr>
          <p:spPr>
            <a:xfrm>
              <a:off x="8079644" y="8629935"/>
              <a:ext cx="854868" cy="952499"/>
            </a:xfrm>
            <a:custGeom>
              <a:avLst/>
              <a:gdLst>
                <a:gd name="connsiteX0" fmla="*/ 0 w 854868"/>
                <a:gd name="connsiteY0" fmla="*/ 95 h 952499"/>
                <a:gd name="connsiteX1" fmla="*/ 153734 w 854868"/>
                <a:gd name="connsiteY1" fmla="*/ 95 h 952499"/>
                <a:gd name="connsiteX2" fmla="*/ 430530 w 854868"/>
                <a:gd name="connsiteY2" fmla="*/ 516827 h 952499"/>
                <a:gd name="connsiteX3" fmla="*/ 706946 w 854868"/>
                <a:gd name="connsiteY3" fmla="*/ 0 h 952499"/>
                <a:gd name="connsiteX4" fmla="*/ 854869 w 854868"/>
                <a:gd name="connsiteY4" fmla="*/ 0 h 952499"/>
                <a:gd name="connsiteX5" fmla="*/ 854869 w 854868"/>
                <a:gd name="connsiteY5" fmla="*/ 952500 h 952499"/>
                <a:gd name="connsiteX6" fmla="*/ 742569 w 854868"/>
                <a:gd name="connsiteY6" fmla="*/ 952500 h 952499"/>
                <a:gd name="connsiteX7" fmla="*/ 741521 w 854868"/>
                <a:gd name="connsiteY7" fmla="*/ 146780 h 952499"/>
                <a:gd name="connsiteX8" fmla="*/ 707422 w 854868"/>
                <a:gd name="connsiteY8" fmla="*/ 207074 h 952499"/>
                <a:gd name="connsiteX9" fmla="*/ 427577 w 854868"/>
                <a:gd name="connsiteY9" fmla="*/ 725138 h 952499"/>
                <a:gd name="connsiteX10" fmla="*/ 193262 w 854868"/>
                <a:gd name="connsiteY10" fmla="*/ 297752 h 952499"/>
                <a:gd name="connsiteX11" fmla="*/ 113348 w 854868"/>
                <a:gd name="connsiteY11" fmla="*/ 146209 h 952499"/>
                <a:gd name="connsiteX12" fmla="*/ 112300 w 854868"/>
                <a:gd name="connsiteY12" fmla="*/ 952500 h 952499"/>
                <a:gd name="connsiteX13" fmla="*/ 0 w 854868"/>
                <a:gd name="connsiteY13" fmla="*/ 952500 h 952499"/>
                <a:gd name="connsiteX14" fmla="*/ 0 w 854868"/>
                <a:gd name="connsiteY14" fmla="*/ 95 h 95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4868" h="952499">
                  <a:moveTo>
                    <a:pt x="0" y="95"/>
                  </a:moveTo>
                  <a:cubicBezTo>
                    <a:pt x="51245" y="95"/>
                    <a:pt x="102489" y="95"/>
                    <a:pt x="153734" y="95"/>
                  </a:cubicBezTo>
                  <a:cubicBezTo>
                    <a:pt x="246221" y="172212"/>
                    <a:pt x="335090" y="346424"/>
                    <a:pt x="430530" y="516827"/>
                  </a:cubicBezTo>
                  <a:cubicBezTo>
                    <a:pt x="522923" y="344615"/>
                    <a:pt x="614744" y="172212"/>
                    <a:pt x="706946" y="0"/>
                  </a:cubicBezTo>
                  <a:lnTo>
                    <a:pt x="854869" y="0"/>
                  </a:lnTo>
                  <a:lnTo>
                    <a:pt x="854869" y="952500"/>
                  </a:lnTo>
                  <a:lnTo>
                    <a:pt x="742569" y="952500"/>
                  </a:lnTo>
                  <a:cubicBezTo>
                    <a:pt x="741902" y="683895"/>
                    <a:pt x="743998" y="415290"/>
                    <a:pt x="741521" y="146780"/>
                  </a:cubicBezTo>
                  <a:cubicBezTo>
                    <a:pt x="726948" y="164973"/>
                    <a:pt x="717613" y="186404"/>
                    <a:pt x="707422" y="207074"/>
                  </a:cubicBezTo>
                  <a:cubicBezTo>
                    <a:pt x="619982" y="382810"/>
                    <a:pt x="520541" y="552260"/>
                    <a:pt x="427577" y="725138"/>
                  </a:cubicBezTo>
                  <a:cubicBezTo>
                    <a:pt x="349472" y="582644"/>
                    <a:pt x="270510" y="440722"/>
                    <a:pt x="193262" y="297752"/>
                  </a:cubicBezTo>
                  <a:cubicBezTo>
                    <a:pt x="165830" y="247650"/>
                    <a:pt x="145161" y="193739"/>
                    <a:pt x="113348" y="146209"/>
                  </a:cubicBezTo>
                  <a:cubicBezTo>
                    <a:pt x="110966" y="415004"/>
                    <a:pt x="112967" y="683705"/>
                    <a:pt x="112300" y="952500"/>
                  </a:cubicBezTo>
                  <a:lnTo>
                    <a:pt x="0" y="95250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903EEEF-CE48-C4E7-7217-1BE1A5AD6F1C}"/>
                </a:ext>
              </a:extLst>
            </p:cNvPr>
            <p:cNvSpPr/>
            <p:nvPr/>
          </p:nvSpPr>
          <p:spPr>
            <a:xfrm>
              <a:off x="9365138" y="8630030"/>
              <a:ext cx="723900" cy="952500"/>
            </a:xfrm>
            <a:custGeom>
              <a:avLst/>
              <a:gdLst>
                <a:gd name="connsiteX0" fmla="*/ 0 w 723900"/>
                <a:gd name="connsiteY0" fmla="*/ 0 h 952500"/>
                <a:gd name="connsiteX1" fmla="*/ 723900 w 723900"/>
                <a:gd name="connsiteY1" fmla="*/ 0 h 952500"/>
                <a:gd name="connsiteX2" fmla="*/ 723900 w 723900"/>
                <a:gd name="connsiteY2" fmla="*/ 184595 h 952500"/>
                <a:gd name="connsiteX3" fmla="*/ 465963 w 723900"/>
                <a:gd name="connsiteY3" fmla="*/ 184499 h 952500"/>
                <a:gd name="connsiteX4" fmla="*/ 465963 w 723900"/>
                <a:gd name="connsiteY4" fmla="*/ 952500 h 952500"/>
                <a:gd name="connsiteX5" fmla="*/ 257937 w 723900"/>
                <a:gd name="connsiteY5" fmla="*/ 952500 h 952500"/>
                <a:gd name="connsiteX6" fmla="*/ 257937 w 723900"/>
                <a:gd name="connsiteY6" fmla="*/ 184595 h 952500"/>
                <a:gd name="connsiteX7" fmla="*/ 0 w 723900"/>
                <a:gd name="connsiteY7" fmla="*/ 184595 h 952500"/>
                <a:gd name="connsiteX8" fmla="*/ 0 w 723900"/>
                <a:gd name="connsiteY8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3900" h="952500">
                  <a:moveTo>
                    <a:pt x="0" y="0"/>
                  </a:moveTo>
                  <a:lnTo>
                    <a:pt x="723900" y="0"/>
                  </a:lnTo>
                  <a:lnTo>
                    <a:pt x="723900" y="184595"/>
                  </a:lnTo>
                  <a:cubicBezTo>
                    <a:pt x="637889" y="184595"/>
                    <a:pt x="551879" y="184595"/>
                    <a:pt x="465963" y="184499"/>
                  </a:cubicBezTo>
                  <a:cubicBezTo>
                    <a:pt x="465868" y="440531"/>
                    <a:pt x="465963" y="696468"/>
                    <a:pt x="465963" y="952500"/>
                  </a:cubicBezTo>
                  <a:lnTo>
                    <a:pt x="257937" y="952500"/>
                  </a:lnTo>
                  <a:lnTo>
                    <a:pt x="257937" y="184595"/>
                  </a:lnTo>
                  <a:cubicBezTo>
                    <a:pt x="172021" y="184499"/>
                    <a:pt x="86011" y="184595"/>
                    <a:pt x="0" y="18459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95B386C-E66C-B8E1-367D-F62E63A1E945}"/>
                </a:ext>
              </a:extLst>
            </p:cNvPr>
            <p:cNvSpPr/>
            <p:nvPr/>
          </p:nvSpPr>
          <p:spPr>
            <a:xfrm>
              <a:off x="12344082" y="8630030"/>
              <a:ext cx="875252" cy="952622"/>
            </a:xfrm>
            <a:custGeom>
              <a:avLst/>
              <a:gdLst>
                <a:gd name="connsiteX0" fmla="*/ 14954 w 875252"/>
                <a:gd name="connsiteY0" fmla="*/ 0 h 952622"/>
                <a:gd name="connsiteX1" fmla="*/ 257080 w 875252"/>
                <a:gd name="connsiteY1" fmla="*/ 0 h 952622"/>
                <a:gd name="connsiteX2" fmla="*/ 444627 w 875252"/>
                <a:gd name="connsiteY2" fmla="*/ 324612 h 952622"/>
                <a:gd name="connsiteX3" fmla="*/ 634555 w 875252"/>
                <a:gd name="connsiteY3" fmla="*/ 95 h 952622"/>
                <a:gd name="connsiteX4" fmla="*/ 858869 w 875252"/>
                <a:gd name="connsiteY4" fmla="*/ 95 h 952622"/>
                <a:gd name="connsiteX5" fmla="*/ 565499 w 875252"/>
                <a:gd name="connsiteY5" fmla="*/ 464058 h 952622"/>
                <a:gd name="connsiteX6" fmla="*/ 875252 w 875252"/>
                <a:gd name="connsiteY6" fmla="*/ 952595 h 952622"/>
                <a:gd name="connsiteX7" fmla="*/ 634555 w 875252"/>
                <a:gd name="connsiteY7" fmla="*/ 952595 h 952622"/>
                <a:gd name="connsiteX8" fmla="*/ 426625 w 875252"/>
                <a:gd name="connsiteY8" fmla="*/ 599504 h 952622"/>
                <a:gd name="connsiteX9" fmla="*/ 224314 w 875252"/>
                <a:gd name="connsiteY9" fmla="*/ 952595 h 952622"/>
                <a:gd name="connsiteX10" fmla="*/ 0 w 875252"/>
                <a:gd name="connsiteY10" fmla="*/ 952595 h 952622"/>
                <a:gd name="connsiteX11" fmla="*/ 305562 w 875252"/>
                <a:gd name="connsiteY11" fmla="*/ 459867 h 952622"/>
                <a:gd name="connsiteX12" fmla="*/ 14954 w 875252"/>
                <a:gd name="connsiteY12" fmla="*/ 95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5252" h="952622">
                  <a:moveTo>
                    <a:pt x="14954" y="0"/>
                  </a:moveTo>
                  <a:cubicBezTo>
                    <a:pt x="95631" y="0"/>
                    <a:pt x="176308" y="0"/>
                    <a:pt x="257080" y="0"/>
                  </a:cubicBezTo>
                  <a:cubicBezTo>
                    <a:pt x="319754" y="108109"/>
                    <a:pt x="381381" y="216789"/>
                    <a:pt x="444627" y="324612"/>
                  </a:cubicBezTo>
                  <a:cubicBezTo>
                    <a:pt x="508064" y="216503"/>
                    <a:pt x="571119" y="108204"/>
                    <a:pt x="634555" y="95"/>
                  </a:cubicBezTo>
                  <a:lnTo>
                    <a:pt x="858869" y="95"/>
                  </a:lnTo>
                  <a:cubicBezTo>
                    <a:pt x="761143" y="154781"/>
                    <a:pt x="663321" y="309372"/>
                    <a:pt x="565499" y="464058"/>
                  </a:cubicBezTo>
                  <a:cubicBezTo>
                    <a:pt x="668750" y="626840"/>
                    <a:pt x="772001" y="789718"/>
                    <a:pt x="875252" y="952595"/>
                  </a:cubicBezTo>
                  <a:cubicBezTo>
                    <a:pt x="795052" y="952691"/>
                    <a:pt x="714756" y="952500"/>
                    <a:pt x="634555" y="952595"/>
                  </a:cubicBezTo>
                  <a:cubicBezTo>
                    <a:pt x="565118" y="834962"/>
                    <a:pt x="496538" y="716852"/>
                    <a:pt x="426625" y="599504"/>
                  </a:cubicBezTo>
                  <a:cubicBezTo>
                    <a:pt x="358807" y="716947"/>
                    <a:pt x="291846" y="834962"/>
                    <a:pt x="224314" y="952595"/>
                  </a:cubicBezTo>
                  <a:lnTo>
                    <a:pt x="0" y="952595"/>
                  </a:lnTo>
                  <a:cubicBezTo>
                    <a:pt x="101822" y="788289"/>
                    <a:pt x="203740" y="624173"/>
                    <a:pt x="305562" y="459867"/>
                  </a:cubicBezTo>
                  <a:cubicBezTo>
                    <a:pt x="208693" y="306705"/>
                    <a:pt x="111823" y="153353"/>
                    <a:pt x="14954" y="9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B970690-C730-5B65-76F4-F4E5E9AF8EA5}"/>
                </a:ext>
              </a:extLst>
            </p:cNvPr>
            <p:cNvSpPr/>
            <p:nvPr/>
          </p:nvSpPr>
          <p:spPr>
            <a:xfrm>
              <a:off x="16351421" y="8727139"/>
              <a:ext cx="728351" cy="1144977"/>
            </a:xfrm>
            <a:custGeom>
              <a:avLst/>
              <a:gdLst>
                <a:gd name="connsiteX0" fmla="*/ 509416 w 728351"/>
                <a:gd name="connsiteY0" fmla="*/ 14429 h 1144977"/>
                <a:gd name="connsiteX1" fmla="*/ 685629 w 728351"/>
                <a:gd name="connsiteY1" fmla="*/ 904 h 1144977"/>
                <a:gd name="connsiteX2" fmla="*/ 685724 w 728351"/>
                <a:gd name="connsiteY2" fmla="*/ 151304 h 1144977"/>
                <a:gd name="connsiteX3" fmla="*/ 522275 w 728351"/>
                <a:gd name="connsiteY3" fmla="*/ 152542 h 1144977"/>
                <a:gd name="connsiteX4" fmla="*/ 628097 w 728351"/>
                <a:gd name="connsiteY4" fmla="*/ 257031 h 1144977"/>
                <a:gd name="connsiteX5" fmla="*/ 595141 w 728351"/>
                <a:gd name="connsiteY5" fmla="*/ 517730 h 1144977"/>
                <a:gd name="connsiteX6" fmla="*/ 424834 w 728351"/>
                <a:gd name="connsiteY6" fmla="*/ 596312 h 1144977"/>
                <a:gd name="connsiteX7" fmla="*/ 215093 w 728351"/>
                <a:gd name="connsiteY7" fmla="*/ 586406 h 1144977"/>
                <a:gd name="connsiteX8" fmla="*/ 207664 w 728351"/>
                <a:gd name="connsiteY8" fmla="*/ 685561 h 1144977"/>
                <a:gd name="connsiteX9" fmla="*/ 352254 w 728351"/>
                <a:gd name="connsiteY9" fmla="*/ 698229 h 1144977"/>
                <a:gd name="connsiteX10" fmla="*/ 619430 w 728351"/>
                <a:gd name="connsiteY10" fmla="*/ 722327 h 1144977"/>
                <a:gd name="connsiteX11" fmla="*/ 722490 w 728351"/>
                <a:gd name="connsiteY11" fmla="*/ 848248 h 1144977"/>
                <a:gd name="connsiteX12" fmla="*/ 671818 w 728351"/>
                <a:gd name="connsiteY12" fmla="*/ 1060560 h 1144977"/>
                <a:gd name="connsiteX13" fmla="*/ 458933 w 728351"/>
                <a:gd name="connsiteY13" fmla="*/ 1139237 h 1144977"/>
                <a:gd name="connsiteX14" fmla="*/ 192615 w 728351"/>
                <a:gd name="connsiteY14" fmla="*/ 1135141 h 1144977"/>
                <a:gd name="connsiteX15" fmla="*/ 44406 w 728351"/>
                <a:gd name="connsiteY15" fmla="*/ 1078372 h 1144977"/>
                <a:gd name="connsiteX16" fmla="*/ 53168 w 728351"/>
                <a:gd name="connsiteY16" fmla="*/ 870060 h 1144977"/>
                <a:gd name="connsiteX17" fmla="*/ 132893 w 728351"/>
                <a:gd name="connsiteY17" fmla="*/ 840533 h 1144977"/>
                <a:gd name="connsiteX18" fmla="*/ 133845 w 728351"/>
                <a:gd name="connsiteY18" fmla="*/ 828817 h 1144977"/>
                <a:gd name="connsiteX19" fmla="*/ 74886 w 728351"/>
                <a:gd name="connsiteY19" fmla="*/ 800909 h 1144977"/>
                <a:gd name="connsiteX20" fmla="*/ 62407 w 728351"/>
                <a:gd name="connsiteY20" fmla="*/ 623458 h 1144977"/>
                <a:gd name="connsiteX21" fmla="*/ 167373 w 728351"/>
                <a:gd name="connsiteY21" fmla="*/ 571451 h 1144977"/>
                <a:gd name="connsiteX22" fmla="*/ 48883 w 728351"/>
                <a:gd name="connsiteY22" fmla="*/ 446293 h 1144977"/>
                <a:gd name="connsiteX23" fmla="*/ 89078 w 728351"/>
                <a:gd name="connsiteY23" fmla="*/ 211311 h 1144977"/>
                <a:gd name="connsiteX24" fmla="*/ 259099 w 728351"/>
                <a:gd name="connsiteY24" fmla="*/ 128444 h 1144977"/>
                <a:gd name="connsiteX25" fmla="*/ 463982 w 728351"/>
                <a:gd name="connsiteY25" fmla="*/ 135397 h 1144977"/>
                <a:gd name="connsiteX26" fmla="*/ 509416 w 728351"/>
                <a:gd name="connsiteY26" fmla="*/ 14429 h 1144977"/>
                <a:gd name="connsiteX27" fmla="*/ 299866 w 728351"/>
                <a:gd name="connsiteY27" fmla="*/ 260841 h 1144977"/>
                <a:gd name="connsiteX28" fmla="*/ 226714 w 728351"/>
                <a:gd name="connsiteY28" fmla="*/ 331612 h 1144977"/>
                <a:gd name="connsiteX29" fmla="*/ 251860 w 728351"/>
                <a:gd name="connsiteY29" fmla="*/ 441245 h 1144977"/>
                <a:gd name="connsiteX30" fmla="*/ 381210 w 728351"/>
                <a:gd name="connsiteY30" fmla="*/ 465724 h 1144977"/>
                <a:gd name="connsiteX31" fmla="*/ 458838 w 728351"/>
                <a:gd name="connsiteY31" fmla="*/ 397906 h 1144977"/>
                <a:gd name="connsiteX32" fmla="*/ 431216 w 728351"/>
                <a:gd name="connsiteY32" fmla="*/ 281320 h 1144977"/>
                <a:gd name="connsiteX33" fmla="*/ 299866 w 728351"/>
                <a:gd name="connsiteY33" fmla="*/ 260841 h 1144977"/>
                <a:gd name="connsiteX34" fmla="*/ 182613 w 728351"/>
                <a:gd name="connsiteY34" fmla="*/ 987218 h 1144977"/>
                <a:gd name="connsiteX35" fmla="*/ 343872 w 728351"/>
                <a:gd name="connsiteY35" fmla="*/ 1010554 h 1144977"/>
                <a:gd name="connsiteX36" fmla="*/ 507321 w 728351"/>
                <a:gd name="connsiteY36" fmla="*/ 990170 h 1144977"/>
                <a:gd name="connsiteX37" fmla="*/ 517321 w 728351"/>
                <a:gd name="connsiteY37" fmla="*/ 890158 h 1144977"/>
                <a:gd name="connsiteX38" fmla="*/ 428644 w 728351"/>
                <a:gd name="connsiteY38" fmla="*/ 870536 h 1144977"/>
                <a:gd name="connsiteX39" fmla="*/ 180994 w 728351"/>
                <a:gd name="connsiteY39" fmla="*/ 870155 h 1144977"/>
                <a:gd name="connsiteX40" fmla="*/ 182613 w 728351"/>
                <a:gd name="connsiteY40" fmla="*/ 987218 h 114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8351" h="1144977">
                  <a:moveTo>
                    <a:pt x="509416" y="14429"/>
                  </a:moveTo>
                  <a:cubicBezTo>
                    <a:pt x="564471" y="-10431"/>
                    <a:pt x="627240" y="5381"/>
                    <a:pt x="685629" y="904"/>
                  </a:cubicBezTo>
                  <a:cubicBezTo>
                    <a:pt x="685629" y="51005"/>
                    <a:pt x="685629" y="101202"/>
                    <a:pt x="685724" y="151304"/>
                  </a:cubicBezTo>
                  <a:cubicBezTo>
                    <a:pt x="631146" y="151875"/>
                    <a:pt x="576663" y="150065"/>
                    <a:pt x="522275" y="152542"/>
                  </a:cubicBezTo>
                  <a:cubicBezTo>
                    <a:pt x="564185" y="179498"/>
                    <a:pt x="607809" y="209311"/>
                    <a:pt x="628097" y="257031"/>
                  </a:cubicBezTo>
                  <a:cubicBezTo>
                    <a:pt x="665245" y="340280"/>
                    <a:pt x="658673" y="448769"/>
                    <a:pt x="595141" y="517730"/>
                  </a:cubicBezTo>
                  <a:cubicBezTo>
                    <a:pt x="551136" y="564879"/>
                    <a:pt x="487223" y="587168"/>
                    <a:pt x="424834" y="596312"/>
                  </a:cubicBezTo>
                  <a:cubicBezTo>
                    <a:pt x="355112" y="605551"/>
                    <a:pt x="283388" y="603932"/>
                    <a:pt x="215093" y="586406"/>
                  </a:cubicBezTo>
                  <a:cubicBezTo>
                    <a:pt x="183757" y="608123"/>
                    <a:pt x="170231" y="663177"/>
                    <a:pt x="207664" y="685561"/>
                  </a:cubicBezTo>
                  <a:cubicBezTo>
                    <a:pt x="252527" y="707087"/>
                    <a:pt x="304247" y="695181"/>
                    <a:pt x="352254" y="698229"/>
                  </a:cubicBezTo>
                  <a:cubicBezTo>
                    <a:pt x="441312" y="701277"/>
                    <a:pt x="534848" y="687085"/>
                    <a:pt x="619430" y="722327"/>
                  </a:cubicBezTo>
                  <a:cubicBezTo>
                    <a:pt x="672484" y="743282"/>
                    <a:pt x="712108" y="792241"/>
                    <a:pt x="722490" y="848248"/>
                  </a:cubicBezTo>
                  <a:cubicBezTo>
                    <a:pt x="736301" y="921019"/>
                    <a:pt x="728110" y="1006744"/>
                    <a:pt x="671818" y="1060560"/>
                  </a:cubicBezTo>
                  <a:cubicBezTo>
                    <a:pt x="614857" y="1114281"/>
                    <a:pt x="534086" y="1130283"/>
                    <a:pt x="458933" y="1139237"/>
                  </a:cubicBezTo>
                  <a:cubicBezTo>
                    <a:pt x="370447" y="1147428"/>
                    <a:pt x="280721" y="1147524"/>
                    <a:pt x="192615" y="1135141"/>
                  </a:cubicBezTo>
                  <a:cubicBezTo>
                    <a:pt x="140322" y="1126473"/>
                    <a:pt x="85744" y="1113233"/>
                    <a:pt x="44406" y="1078372"/>
                  </a:cubicBezTo>
                  <a:cubicBezTo>
                    <a:pt x="-17698" y="1026937"/>
                    <a:pt x="-14554" y="915209"/>
                    <a:pt x="53168" y="870060"/>
                  </a:cubicBezTo>
                  <a:cubicBezTo>
                    <a:pt x="76505" y="852820"/>
                    <a:pt x="105461" y="847867"/>
                    <a:pt x="132893" y="840533"/>
                  </a:cubicBezTo>
                  <a:cubicBezTo>
                    <a:pt x="133179" y="837580"/>
                    <a:pt x="133560" y="831674"/>
                    <a:pt x="133845" y="828817"/>
                  </a:cubicBezTo>
                  <a:cubicBezTo>
                    <a:pt x="113747" y="820149"/>
                    <a:pt x="91459" y="815577"/>
                    <a:pt x="74886" y="800909"/>
                  </a:cubicBezTo>
                  <a:cubicBezTo>
                    <a:pt x="22880" y="759475"/>
                    <a:pt x="13259" y="670702"/>
                    <a:pt x="62407" y="623458"/>
                  </a:cubicBezTo>
                  <a:cubicBezTo>
                    <a:pt x="90411" y="594597"/>
                    <a:pt x="130036" y="582786"/>
                    <a:pt x="167373" y="571451"/>
                  </a:cubicBezTo>
                  <a:cubicBezTo>
                    <a:pt x="114129" y="546401"/>
                    <a:pt x="66980" y="503538"/>
                    <a:pt x="48883" y="446293"/>
                  </a:cubicBezTo>
                  <a:cubicBezTo>
                    <a:pt x="23546" y="368283"/>
                    <a:pt x="33357" y="274271"/>
                    <a:pt x="89078" y="211311"/>
                  </a:cubicBezTo>
                  <a:cubicBezTo>
                    <a:pt x="132036" y="162448"/>
                    <a:pt x="196043" y="138159"/>
                    <a:pt x="259099" y="128444"/>
                  </a:cubicBezTo>
                  <a:cubicBezTo>
                    <a:pt x="327012" y="118728"/>
                    <a:pt x="396925" y="119871"/>
                    <a:pt x="463982" y="135397"/>
                  </a:cubicBezTo>
                  <a:cubicBezTo>
                    <a:pt x="462457" y="91963"/>
                    <a:pt x="465697" y="37289"/>
                    <a:pt x="509416" y="14429"/>
                  </a:cubicBezTo>
                  <a:moveTo>
                    <a:pt x="299866" y="260841"/>
                  </a:moveTo>
                  <a:cubicBezTo>
                    <a:pt x="264243" y="267223"/>
                    <a:pt x="231476" y="294464"/>
                    <a:pt x="226714" y="331612"/>
                  </a:cubicBezTo>
                  <a:cubicBezTo>
                    <a:pt x="221476" y="368855"/>
                    <a:pt x="221571" y="413908"/>
                    <a:pt x="251860" y="441245"/>
                  </a:cubicBezTo>
                  <a:cubicBezTo>
                    <a:pt x="286817" y="471534"/>
                    <a:pt x="337585" y="472201"/>
                    <a:pt x="381210" y="465724"/>
                  </a:cubicBezTo>
                  <a:cubicBezTo>
                    <a:pt x="417214" y="460676"/>
                    <a:pt x="452171" y="435339"/>
                    <a:pt x="458838" y="397906"/>
                  </a:cubicBezTo>
                  <a:cubicBezTo>
                    <a:pt x="465315" y="358282"/>
                    <a:pt x="465315" y="308942"/>
                    <a:pt x="431216" y="281320"/>
                  </a:cubicBezTo>
                  <a:cubicBezTo>
                    <a:pt x="394164" y="253221"/>
                    <a:pt x="343586" y="252935"/>
                    <a:pt x="299866" y="260841"/>
                  </a:cubicBezTo>
                  <a:moveTo>
                    <a:pt x="182613" y="987218"/>
                  </a:moveTo>
                  <a:cubicBezTo>
                    <a:pt x="230810" y="1015888"/>
                    <a:pt x="289960" y="1009411"/>
                    <a:pt x="343872" y="1010554"/>
                  </a:cubicBezTo>
                  <a:cubicBezTo>
                    <a:pt x="398354" y="1009411"/>
                    <a:pt x="457124" y="1016078"/>
                    <a:pt x="507321" y="990170"/>
                  </a:cubicBezTo>
                  <a:cubicBezTo>
                    <a:pt x="543135" y="972073"/>
                    <a:pt x="550183" y="914256"/>
                    <a:pt x="517321" y="890158"/>
                  </a:cubicBezTo>
                  <a:cubicBezTo>
                    <a:pt x="491509" y="872346"/>
                    <a:pt x="458744" y="871394"/>
                    <a:pt x="428644" y="870536"/>
                  </a:cubicBezTo>
                  <a:cubicBezTo>
                    <a:pt x="346062" y="870155"/>
                    <a:pt x="263481" y="871013"/>
                    <a:pt x="180994" y="870155"/>
                  </a:cubicBezTo>
                  <a:cubicBezTo>
                    <a:pt x="153467" y="902064"/>
                    <a:pt x="142608" y="960548"/>
                    <a:pt x="182613" y="98721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3CAEF68-F1CF-5981-7291-85BCBE453CE0}"/>
                </a:ext>
              </a:extLst>
            </p:cNvPr>
            <p:cNvSpPr/>
            <p:nvPr/>
          </p:nvSpPr>
          <p:spPr>
            <a:xfrm>
              <a:off x="10085832" y="8849421"/>
              <a:ext cx="669369" cy="749856"/>
            </a:xfrm>
            <a:custGeom>
              <a:avLst/>
              <a:gdLst>
                <a:gd name="connsiteX0" fmla="*/ 260667 w 669369"/>
                <a:gd name="connsiteY0" fmla="*/ 6542 h 749856"/>
                <a:gd name="connsiteX1" fmla="*/ 515461 w 669369"/>
                <a:gd name="connsiteY1" fmla="*/ 44071 h 749856"/>
                <a:gd name="connsiteX2" fmla="*/ 650335 w 669369"/>
                <a:gd name="connsiteY2" fmla="*/ 226855 h 749856"/>
                <a:gd name="connsiteX3" fmla="*/ 669099 w 669369"/>
                <a:gd name="connsiteY3" fmla="*/ 426404 h 749856"/>
                <a:gd name="connsiteX4" fmla="*/ 208470 w 669369"/>
                <a:gd name="connsiteY4" fmla="*/ 426404 h 749856"/>
                <a:gd name="connsiteX5" fmla="*/ 248666 w 669369"/>
                <a:gd name="connsiteY5" fmla="*/ 550039 h 749856"/>
                <a:gd name="connsiteX6" fmla="*/ 408590 w 669369"/>
                <a:gd name="connsiteY6" fmla="*/ 587472 h 749856"/>
                <a:gd name="connsiteX7" fmla="*/ 543464 w 669369"/>
                <a:gd name="connsiteY7" fmla="*/ 505081 h 749856"/>
                <a:gd name="connsiteX8" fmla="*/ 645001 w 669369"/>
                <a:gd name="connsiteY8" fmla="*/ 630239 h 749856"/>
                <a:gd name="connsiteX9" fmla="*/ 370110 w 669369"/>
                <a:gd name="connsiteY9" fmla="*/ 749111 h 749856"/>
                <a:gd name="connsiteX10" fmla="*/ 115697 w 669369"/>
                <a:gd name="connsiteY10" fmla="*/ 673673 h 749856"/>
                <a:gd name="connsiteX11" fmla="*/ 2444 w 669369"/>
                <a:gd name="connsiteY11" fmla="*/ 428785 h 749856"/>
                <a:gd name="connsiteX12" fmla="*/ 63881 w 669369"/>
                <a:gd name="connsiteY12" fmla="*/ 132082 h 749856"/>
                <a:gd name="connsiteX13" fmla="*/ 260667 w 669369"/>
                <a:gd name="connsiteY13" fmla="*/ 6542 h 749856"/>
                <a:gd name="connsiteX14" fmla="*/ 236283 w 669369"/>
                <a:gd name="connsiteY14" fmla="*/ 199900 h 749856"/>
                <a:gd name="connsiteX15" fmla="*/ 208375 w 669369"/>
                <a:gd name="connsiteY15" fmla="*/ 307246 h 749856"/>
                <a:gd name="connsiteX16" fmla="*/ 460216 w 669369"/>
                <a:gd name="connsiteY16" fmla="*/ 307246 h 749856"/>
                <a:gd name="connsiteX17" fmla="*/ 429450 w 669369"/>
                <a:gd name="connsiteY17" fmla="*/ 188851 h 749856"/>
                <a:gd name="connsiteX18" fmla="*/ 236283 w 669369"/>
                <a:gd name="connsiteY18" fmla="*/ 199900 h 74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369" h="749856">
                  <a:moveTo>
                    <a:pt x="260667" y="6542"/>
                  </a:moveTo>
                  <a:cubicBezTo>
                    <a:pt x="346297" y="-7650"/>
                    <a:pt x="439261" y="-316"/>
                    <a:pt x="515461" y="44071"/>
                  </a:cubicBezTo>
                  <a:cubicBezTo>
                    <a:pt x="583279" y="83123"/>
                    <a:pt x="629285" y="152465"/>
                    <a:pt x="650335" y="226855"/>
                  </a:cubicBezTo>
                  <a:cubicBezTo>
                    <a:pt x="669956" y="291435"/>
                    <a:pt x="669956" y="359539"/>
                    <a:pt x="669099" y="426404"/>
                  </a:cubicBezTo>
                  <a:cubicBezTo>
                    <a:pt x="515556" y="426404"/>
                    <a:pt x="362013" y="426404"/>
                    <a:pt x="208470" y="426404"/>
                  </a:cubicBezTo>
                  <a:cubicBezTo>
                    <a:pt x="208565" y="470124"/>
                    <a:pt x="215900" y="518035"/>
                    <a:pt x="248666" y="550039"/>
                  </a:cubicBezTo>
                  <a:cubicBezTo>
                    <a:pt x="290004" y="590806"/>
                    <a:pt x="353822" y="596140"/>
                    <a:pt x="408590" y="587472"/>
                  </a:cubicBezTo>
                  <a:cubicBezTo>
                    <a:pt x="462693" y="579090"/>
                    <a:pt x="506603" y="543181"/>
                    <a:pt x="543464" y="505081"/>
                  </a:cubicBezTo>
                  <a:cubicBezTo>
                    <a:pt x="577373" y="546705"/>
                    <a:pt x="610235" y="589282"/>
                    <a:pt x="645001" y="630239"/>
                  </a:cubicBezTo>
                  <a:cubicBezTo>
                    <a:pt x="576993" y="708916"/>
                    <a:pt x="471741" y="744920"/>
                    <a:pt x="370110" y="749111"/>
                  </a:cubicBezTo>
                  <a:cubicBezTo>
                    <a:pt x="280384" y="754159"/>
                    <a:pt x="184848" y="734062"/>
                    <a:pt x="115697" y="673673"/>
                  </a:cubicBezTo>
                  <a:cubicBezTo>
                    <a:pt x="44640" y="613094"/>
                    <a:pt x="10255" y="519844"/>
                    <a:pt x="2444" y="428785"/>
                  </a:cubicBezTo>
                  <a:cubicBezTo>
                    <a:pt x="-6128" y="327249"/>
                    <a:pt x="6350" y="218664"/>
                    <a:pt x="63881" y="132082"/>
                  </a:cubicBezTo>
                  <a:cubicBezTo>
                    <a:pt x="107886" y="64645"/>
                    <a:pt x="181800" y="19972"/>
                    <a:pt x="260667" y="6542"/>
                  </a:cubicBezTo>
                  <a:moveTo>
                    <a:pt x="236283" y="199900"/>
                  </a:moveTo>
                  <a:cubicBezTo>
                    <a:pt x="213804" y="230856"/>
                    <a:pt x="209042" y="270004"/>
                    <a:pt x="208375" y="307246"/>
                  </a:cubicBezTo>
                  <a:lnTo>
                    <a:pt x="460216" y="307246"/>
                  </a:lnTo>
                  <a:cubicBezTo>
                    <a:pt x="459835" y="266289"/>
                    <a:pt x="455930" y="222093"/>
                    <a:pt x="429450" y="188851"/>
                  </a:cubicBezTo>
                  <a:cubicBezTo>
                    <a:pt x="382111" y="129700"/>
                    <a:pt x="278003" y="138273"/>
                    <a:pt x="236283" y="1999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1CC5BB-2B13-B3BD-19B7-C3ADDC9468A0}"/>
                </a:ext>
              </a:extLst>
            </p:cNvPr>
            <p:cNvSpPr/>
            <p:nvPr/>
          </p:nvSpPr>
          <p:spPr>
            <a:xfrm>
              <a:off x="10852675" y="8849297"/>
              <a:ext cx="625965" cy="749878"/>
            </a:xfrm>
            <a:custGeom>
              <a:avLst/>
              <a:gdLst>
                <a:gd name="connsiteX0" fmla="*/ 115044 w 625965"/>
                <a:gd name="connsiteY0" fmla="*/ 72770 h 749878"/>
                <a:gd name="connsiteX1" fmla="*/ 437561 w 625965"/>
                <a:gd name="connsiteY1" fmla="*/ 13810 h 749878"/>
                <a:gd name="connsiteX2" fmla="*/ 621870 w 625965"/>
                <a:gd name="connsiteY2" fmla="*/ 187165 h 749878"/>
                <a:gd name="connsiteX3" fmla="*/ 458230 w 625965"/>
                <a:gd name="connsiteY3" fmla="*/ 258221 h 749878"/>
                <a:gd name="connsiteX4" fmla="*/ 411843 w 625965"/>
                <a:gd name="connsiteY4" fmla="*/ 184117 h 749878"/>
                <a:gd name="connsiteX5" fmla="*/ 233916 w 625965"/>
                <a:gd name="connsiteY5" fmla="*/ 212120 h 749878"/>
                <a:gd name="connsiteX6" fmla="*/ 210771 w 625965"/>
                <a:gd name="connsiteY6" fmla="*/ 371093 h 749878"/>
                <a:gd name="connsiteX7" fmla="*/ 230868 w 625965"/>
                <a:gd name="connsiteY7" fmla="*/ 533684 h 749878"/>
                <a:gd name="connsiteX8" fmla="*/ 439371 w 625965"/>
                <a:gd name="connsiteY8" fmla="*/ 540352 h 749878"/>
                <a:gd name="connsiteX9" fmla="*/ 468708 w 625965"/>
                <a:gd name="connsiteY9" fmla="*/ 483392 h 749878"/>
                <a:gd name="connsiteX10" fmla="*/ 625965 w 625965"/>
                <a:gd name="connsiteY10" fmla="*/ 551782 h 749878"/>
                <a:gd name="connsiteX11" fmla="*/ 521095 w 625965"/>
                <a:gd name="connsiteY11" fmla="*/ 697800 h 749878"/>
                <a:gd name="connsiteX12" fmla="*/ 271921 w 625965"/>
                <a:gd name="connsiteY12" fmla="*/ 745425 h 749878"/>
                <a:gd name="connsiteX13" fmla="*/ 70086 w 625965"/>
                <a:gd name="connsiteY13" fmla="*/ 627696 h 749878"/>
                <a:gd name="connsiteX14" fmla="*/ 1316 w 625965"/>
                <a:gd name="connsiteY14" fmla="*/ 333183 h 749878"/>
                <a:gd name="connsiteX15" fmla="*/ 115044 w 625965"/>
                <a:gd name="connsiteY15" fmla="*/ 72770 h 74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65" h="749878">
                  <a:moveTo>
                    <a:pt x="115044" y="72770"/>
                  </a:moveTo>
                  <a:cubicBezTo>
                    <a:pt x="202770" y="-1430"/>
                    <a:pt x="329357" y="-14479"/>
                    <a:pt x="437561" y="13810"/>
                  </a:cubicBezTo>
                  <a:cubicBezTo>
                    <a:pt x="523476" y="36003"/>
                    <a:pt x="592628" y="104202"/>
                    <a:pt x="621870" y="187165"/>
                  </a:cubicBezTo>
                  <a:cubicBezTo>
                    <a:pt x="567387" y="211073"/>
                    <a:pt x="512713" y="234504"/>
                    <a:pt x="458230" y="258221"/>
                  </a:cubicBezTo>
                  <a:cubicBezTo>
                    <a:pt x="449086" y="230313"/>
                    <a:pt x="436418" y="201738"/>
                    <a:pt x="411843" y="184117"/>
                  </a:cubicBezTo>
                  <a:cubicBezTo>
                    <a:pt x="358503" y="144969"/>
                    <a:pt x="269445" y="152494"/>
                    <a:pt x="233916" y="212120"/>
                  </a:cubicBezTo>
                  <a:cubicBezTo>
                    <a:pt x="204294" y="259650"/>
                    <a:pt x="211342" y="317753"/>
                    <a:pt x="210771" y="371093"/>
                  </a:cubicBezTo>
                  <a:cubicBezTo>
                    <a:pt x="212104" y="425385"/>
                    <a:pt x="203055" y="484059"/>
                    <a:pt x="230868" y="533684"/>
                  </a:cubicBezTo>
                  <a:cubicBezTo>
                    <a:pt x="271350" y="608265"/>
                    <a:pt x="392317" y="607884"/>
                    <a:pt x="439371" y="540352"/>
                  </a:cubicBezTo>
                  <a:cubicBezTo>
                    <a:pt x="452134" y="523112"/>
                    <a:pt x="460135" y="502919"/>
                    <a:pt x="468708" y="483392"/>
                  </a:cubicBezTo>
                  <a:cubicBezTo>
                    <a:pt x="521095" y="506252"/>
                    <a:pt x="573578" y="528922"/>
                    <a:pt x="625965" y="551782"/>
                  </a:cubicBezTo>
                  <a:cubicBezTo>
                    <a:pt x="605106" y="608741"/>
                    <a:pt x="571673" y="662939"/>
                    <a:pt x="521095" y="697800"/>
                  </a:cubicBezTo>
                  <a:cubicBezTo>
                    <a:pt x="449372" y="748092"/>
                    <a:pt x="356598" y="756855"/>
                    <a:pt x="271921" y="745425"/>
                  </a:cubicBezTo>
                  <a:cubicBezTo>
                    <a:pt x="192673" y="734757"/>
                    <a:pt x="116473" y="693800"/>
                    <a:pt x="70086" y="627696"/>
                  </a:cubicBezTo>
                  <a:cubicBezTo>
                    <a:pt x="9603" y="543114"/>
                    <a:pt x="-4876" y="434624"/>
                    <a:pt x="1316" y="333183"/>
                  </a:cubicBezTo>
                  <a:cubicBezTo>
                    <a:pt x="7031" y="237171"/>
                    <a:pt x="39702" y="136778"/>
                    <a:pt x="115044" y="727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0FAA62-F02D-5AB5-E499-6D60AA797705}"/>
                </a:ext>
              </a:extLst>
            </p:cNvPr>
            <p:cNvSpPr/>
            <p:nvPr/>
          </p:nvSpPr>
          <p:spPr>
            <a:xfrm>
              <a:off x="13262546" y="8849276"/>
              <a:ext cx="625919" cy="749850"/>
            </a:xfrm>
            <a:custGeom>
              <a:avLst/>
              <a:gdLst>
                <a:gd name="connsiteX0" fmla="*/ 114142 w 625919"/>
                <a:gd name="connsiteY0" fmla="*/ 73457 h 749850"/>
                <a:gd name="connsiteX1" fmla="*/ 437897 w 625919"/>
                <a:gd name="connsiteY1" fmla="*/ 13831 h 749850"/>
                <a:gd name="connsiteX2" fmla="*/ 621920 w 625919"/>
                <a:gd name="connsiteY2" fmla="*/ 187281 h 749850"/>
                <a:gd name="connsiteX3" fmla="*/ 458280 w 625919"/>
                <a:gd name="connsiteY3" fmla="*/ 258242 h 749850"/>
                <a:gd name="connsiteX4" fmla="*/ 399225 w 625919"/>
                <a:gd name="connsiteY4" fmla="*/ 175946 h 749850"/>
                <a:gd name="connsiteX5" fmla="*/ 237776 w 625919"/>
                <a:gd name="connsiteY5" fmla="*/ 206426 h 749850"/>
                <a:gd name="connsiteX6" fmla="*/ 210725 w 625919"/>
                <a:gd name="connsiteY6" fmla="*/ 371209 h 749850"/>
                <a:gd name="connsiteX7" fmla="*/ 231013 w 625919"/>
                <a:gd name="connsiteY7" fmla="*/ 534086 h 749850"/>
                <a:gd name="connsiteX8" fmla="*/ 437992 w 625919"/>
                <a:gd name="connsiteY8" fmla="*/ 542278 h 749850"/>
                <a:gd name="connsiteX9" fmla="*/ 468662 w 625919"/>
                <a:gd name="connsiteY9" fmla="*/ 483413 h 749850"/>
                <a:gd name="connsiteX10" fmla="*/ 625920 w 625919"/>
                <a:gd name="connsiteY10" fmla="*/ 551898 h 749850"/>
                <a:gd name="connsiteX11" fmla="*/ 514573 w 625919"/>
                <a:gd name="connsiteY11" fmla="*/ 702203 h 749850"/>
                <a:gd name="connsiteX12" fmla="*/ 265494 w 625919"/>
                <a:gd name="connsiteY12" fmla="*/ 744398 h 749850"/>
                <a:gd name="connsiteX13" fmla="*/ 66422 w 625919"/>
                <a:gd name="connsiteY13" fmla="*/ 622478 h 749850"/>
                <a:gd name="connsiteX14" fmla="*/ 1937 w 625919"/>
                <a:gd name="connsiteY14" fmla="*/ 324441 h 749850"/>
                <a:gd name="connsiteX15" fmla="*/ 114142 w 625919"/>
                <a:gd name="connsiteY15" fmla="*/ 73457 h 74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5919" h="749850">
                  <a:moveTo>
                    <a:pt x="114142" y="73457"/>
                  </a:moveTo>
                  <a:cubicBezTo>
                    <a:pt x="201962" y="-1409"/>
                    <a:pt x="329121" y="-14554"/>
                    <a:pt x="437897" y="13831"/>
                  </a:cubicBezTo>
                  <a:cubicBezTo>
                    <a:pt x="523717" y="36215"/>
                    <a:pt x="592582" y="104318"/>
                    <a:pt x="621920" y="187281"/>
                  </a:cubicBezTo>
                  <a:cubicBezTo>
                    <a:pt x="567341" y="210998"/>
                    <a:pt x="512763" y="234525"/>
                    <a:pt x="458280" y="258242"/>
                  </a:cubicBezTo>
                  <a:cubicBezTo>
                    <a:pt x="448184" y="225476"/>
                    <a:pt x="430753" y="192425"/>
                    <a:pt x="399225" y="175946"/>
                  </a:cubicBezTo>
                  <a:cubicBezTo>
                    <a:pt x="347599" y="148133"/>
                    <a:pt x="272447" y="155658"/>
                    <a:pt x="237776" y="206426"/>
                  </a:cubicBezTo>
                  <a:cubicBezTo>
                    <a:pt x="203772" y="254432"/>
                    <a:pt x="211202" y="315869"/>
                    <a:pt x="210725" y="371209"/>
                  </a:cubicBezTo>
                  <a:cubicBezTo>
                    <a:pt x="212059" y="425692"/>
                    <a:pt x="203105" y="484366"/>
                    <a:pt x="231013" y="534086"/>
                  </a:cubicBezTo>
                  <a:cubicBezTo>
                    <a:pt x="271304" y="607524"/>
                    <a:pt x="390081" y="607905"/>
                    <a:pt x="437992" y="542278"/>
                  </a:cubicBezTo>
                  <a:cubicBezTo>
                    <a:pt x="451422" y="524561"/>
                    <a:pt x="459899" y="503702"/>
                    <a:pt x="468662" y="483413"/>
                  </a:cubicBezTo>
                  <a:cubicBezTo>
                    <a:pt x="521050" y="506178"/>
                    <a:pt x="573532" y="528943"/>
                    <a:pt x="625920" y="551898"/>
                  </a:cubicBezTo>
                  <a:cubicBezTo>
                    <a:pt x="604298" y="611144"/>
                    <a:pt x="568579" y="667532"/>
                    <a:pt x="514573" y="702203"/>
                  </a:cubicBezTo>
                  <a:cubicBezTo>
                    <a:pt x="441706" y="749732"/>
                    <a:pt x="349600" y="756971"/>
                    <a:pt x="265494" y="744398"/>
                  </a:cubicBezTo>
                  <a:cubicBezTo>
                    <a:pt x="186341" y="732492"/>
                    <a:pt x="111189" y="689534"/>
                    <a:pt x="66422" y="622478"/>
                  </a:cubicBezTo>
                  <a:cubicBezTo>
                    <a:pt x="7366" y="535991"/>
                    <a:pt x="-5587" y="426644"/>
                    <a:pt x="1937" y="324441"/>
                  </a:cubicBezTo>
                  <a:cubicBezTo>
                    <a:pt x="8890" y="231668"/>
                    <a:pt x="41656" y="135465"/>
                    <a:pt x="114142" y="7345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2FC2C34-E5BD-C43A-3949-47695E913DE8}"/>
                </a:ext>
              </a:extLst>
            </p:cNvPr>
            <p:cNvSpPr/>
            <p:nvPr/>
          </p:nvSpPr>
          <p:spPr>
            <a:xfrm>
              <a:off x="14778191" y="8849530"/>
              <a:ext cx="689710" cy="749617"/>
            </a:xfrm>
            <a:custGeom>
              <a:avLst/>
              <a:gdLst>
                <a:gd name="connsiteX0" fmla="*/ 27247 w 689710"/>
                <a:gd name="connsiteY0" fmla="*/ 137021 h 749617"/>
                <a:gd name="connsiteX1" fmla="*/ 239750 w 689710"/>
                <a:gd name="connsiteY1" fmla="*/ 5290 h 749617"/>
                <a:gd name="connsiteX2" fmla="*/ 522070 w 689710"/>
                <a:gd name="connsiteY2" fmla="*/ 49582 h 749617"/>
                <a:gd name="connsiteX3" fmla="*/ 622654 w 689710"/>
                <a:gd name="connsiteY3" fmla="*/ 247606 h 749617"/>
                <a:gd name="connsiteX4" fmla="*/ 623036 w 689710"/>
                <a:gd name="connsiteY4" fmla="*/ 575838 h 749617"/>
                <a:gd name="connsiteX5" fmla="*/ 689711 w 689710"/>
                <a:gd name="connsiteY5" fmla="*/ 575933 h 749617"/>
                <a:gd name="connsiteX6" fmla="*/ 689711 w 689710"/>
                <a:gd name="connsiteY6" fmla="*/ 733000 h 749617"/>
                <a:gd name="connsiteX7" fmla="*/ 506259 w 689710"/>
                <a:gd name="connsiteY7" fmla="*/ 713950 h 749617"/>
                <a:gd name="connsiteX8" fmla="*/ 438441 w 689710"/>
                <a:gd name="connsiteY8" fmla="*/ 603270 h 749617"/>
                <a:gd name="connsiteX9" fmla="*/ 388625 w 689710"/>
                <a:gd name="connsiteY9" fmla="*/ 690805 h 749617"/>
                <a:gd name="connsiteX10" fmla="*/ 169074 w 689710"/>
                <a:gd name="connsiteY10" fmla="*/ 745288 h 749617"/>
                <a:gd name="connsiteX11" fmla="*/ 15341 w 689710"/>
                <a:gd name="connsiteY11" fmla="*/ 626892 h 749617"/>
                <a:gd name="connsiteX12" fmla="*/ 37153 w 689710"/>
                <a:gd name="connsiteY12" fmla="*/ 416008 h 749617"/>
                <a:gd name="connsiteX13" fmla="*/ 191076 w 689710"/>
                <a:gd name="connsiteY13" fmla="*/ 327521 h 749617"/>
                <a:gd name="connsiteX14" fmla="*/ 420629 w 689710"/>
                <a:gd name="connsiteY14" fmla="*/ 316663 h 749617"/>
                <a:gd name="connsiteX15" fmla="*/ 392911 w 689710"/>
                <a:gd name="connsiteY15" fmla="*/ 189028 h 749617"/>
                <a:gd name="connsiteX16" fmla="*/ 258323 w 689710"/>
                <a:gd name="connsiteY16" fmla="*/ 163310 h 749617"/>
                <a:gd name="connsiteX17" fmla="*/ 147452 w 689710"/>
                <a:gd name="connsiteY17" fmla="*/ 243130 h 749617"/>
                <a:gd name="connsiteX18" fmla="*/ 27247 w 689710"/>
                <a:gd name="connsiteY18" fmla="*/ 137021 h 749617"/>
                <a:gd name="connsiteX19" fmla="*/ 252894 w 689710"/>
                <a:gd name="connsiteY19" fmla="*/ 442583 h 749617"/>
                <a:gd name="connsiteX20" fmla="*/ 260038 w 689710"/>
                <a:gd name="connsiteY20" fmla="*/ 604508 h 749617"/>
                <a:gd name="connsiteX21" fmla="*/ 401579 w 689710"/>
                <a:gd name="connsiteY21" fmla="*/ 571552 h 749617"/>
                <a:gd name="connsiteX22" fmla="*/ 420534 w 689710"/>
                <a:gd name="connsiteY22" fmla="*/ 431725 h 749617"/>
                <a:gd name="connsiteX23" fmla="*/ 252894 w 689710"/>
                <a:gd name="connsiteY23" fmla="*/ 442583 h 74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9710" h="749617">
                  <a:moveTo>
                    <a:pt x="27247" y="137021"/>
                  </a:moveTo>
                  <a:cubicBezTo>
                    <a:pt x="73634" y="63583"/>
                    <a:pt x="153834" y="15387"/>
                    <a:pt x="239750" y="5290"/>
                  </a:cubicBezTo>
                  <a:cubicBezTo>
                    <a:pt x="334618" y="-6044"/>
                    <a:pt x="438632" y="-2520"/>
                    <a:pt x="522070" y="49582"/>
                  </a:cubicBezTo>
                  <a:cubicBezTo>
                    <a:pt x="588936" y="91015"/>
                    <a:pt x="621988" y="171025"/>
                    <a:pt x="622654" y="247606"/>
                  </a:cubicBezTo>
                  <a:cubicBezTo>
                    <a:pt x="623512" y="357049"/>
                    <a:pt x="622654" y="466396"/>
                    <a:pt x="623036" y="575838"/>
                  </a:cubicBezTo>
                  <a:cubicBezTo>
                    <a:pt x="645134" y="575838"/>
                    <a:pt x="667422" y="575838"/>
                    <a:pt x="689711" y="575933"/>
                  </a:cubicBezTo>
                  <a:cubicBezTo>
                    <a:pt x="689615" y="628225"/>
                    <a:pt x="689615" y="680613"/>
                    <a:pt x="689711" y="733000"/>
                  </a:cubicBezTo>
                  <a:cubicBezTo>
                    <a:pt x="628750" y="728238"/>
                    <a:pt x="561790" y="746621"/>
                    <a:pt x="506259" y="713950"/>
                  </a:cubicBezTo>
                  <a:cubicBezTo>
                    <a:pt x="466540" y="690614"/>
                    <a:pt x="448442" y="646037"/>
                    <a:pt x="438441" y="603270"/>
                  </a:cubicBezTo>
                  <a:cubicBezTo>
                    <a:pt x="423963" y="633559"/>
                    <a:pt x="413866" y="667278"/>
                    <a:pt x="388625" y="690805"/>
                  </a:cubicBezTo>
                  <a:cubicBezTo>
                    <a:pt x="331952" y="747193"/>
                    <a:pt x="244702" y="756908"/>
                    <a:pt x="169074" y="745288"/>
                  </a:cubicBezTo>
                  <a:cubicBezTo>
                    <a:pt x="102113" y="735477"/>
                    <a:pt x="38676" y="691948"/>
                    <a:pt x="15341" y="626892"/>
                  </a:cubicBezTo>
                  <a:cubicBezTo>
                    <a:pt x="-9234" y="558693"/>
                    <a:pt x="-5900" y="476302"/>
                    <a:pt x="37153" y="416008"/>
                  </a:cubicBezTo>
                  <a:cubicBezTo>
                    <a:pt x="73062" y="366097"/>
                    <a:pt x="132498" y="339808"/>
                    <a:pt x="191076" y="327521"/>
                  </a:cubicBezTo>
                  <a:cubicBezTo>
                    <a:pt x="266515" y="311424"/>
                    <a:pt x="344048" y="317996"/>
                    <a:pt x="420629" y="316663"/>
                  </a:cubicBezTo>
                  <a:cubicBezTo>
                    <a:pt x="420439" y="273419"/>
                    <a:pt x="425963" y="222746"/>
                    <a:pt x="392911" y="189028"/>
                  </a:cubicBezTo>
                  <a:cubicBezTo>
                    <a:pt x="357764" y="155119"/>
                    <a:pt x="303377" y="154547"/>
                    <a:pt x="258323" y="163310"/>
                  </a:cubicBezTo>
                  <a:cubicBezTo>
                    <a:pt x="211460" y="172359"/>
                    <a:pt x="174884" y="205982"/>
                    <a:pt x="147452" y="243130"/>
                  </a:cubicBezTo>
                  <a:cubicBezTo>
                    <a:pt x="107447" y="207697"/>
                    <a:pt x="67728" y="171883"/>
                    <a:pt x="27247" y="137021"/>
                  </a:cubicBezTo>
                  <a:moveTo>
                    <a:pt x="252894" y="442583"/>
                  </a:moveTo>
                  <a:cubicBezTo>
                    <a:pt x="182600" y="464872"/>
                    <a:pt x="184981" y="591078"/>
                    <a:pt x="260038" y="604508"/>
                  </a:cubicBezTo>
                  <a:cubicBezTo>
                    <a:pt x="308044" y="613557"/>
                    <a:pt x="366337" y="609461"/>
                    <a:pt x="401579" y="571552"/>
                  </a:cubicBezTo>
                  <a:cubicBezTo>
                    <a:pt x="433298" y="532213"/>
                    <a:pt x="416438" y="477921"/>
                    <a:pt x="420534" y="431725"/>
                  </a:cubicBezTo>
                  <a:cubicBezTo>
                    <a:pt x="364813" y="434677"/>
                    <a:pt x="306615" y="423724"/>
                    <a:pt x="252894" y="4425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4288BC-FE42-684B-4479-86B104A27BAC}"/>
                </a:ext>
              </a:extLst>
            </p:cNvPr>
            <p:cNvSpPr/>
            <p:nvPr/>
          </p:nvSpPr>
          <p:spPr>
            <a:xfrm>
              <a:off x="15602775" y="8849035"/>
              <a:ext cx="633507" cy="733518"/>
            </a:xfrm>
            <a:custGeom>
              <a:avLst/>
              <a:gdLst>
                <a:gd name="connsiteX0" fmla="*/ 311944 w 633507"/>
                <a:gd name="connsiteY0" fmla="*/ 20073 h 733518"/>
                <a:gd name="connsiteX1" fmla="*/ 569214 w 633507"/>
                <a:gd name="connsiteY1" fmla="*/ 66078 h 733518"/>
                <a:gd name="connsiteX2" fmla="*/ 633413 w 633507"/>
                <a:gd name="connsiteY2" fmla="*/ 276295 h 733518"/>
                <a:gd name="connsiteX3" fmla="*/ 633508 w 633507"/>
                <a:gd name="connsiteY3" fmla="*/ 733495 h 733518"/>
                <a:gd name="connsiteX4" fmla="*/ 431006 w 633507"/>
                <a:gd name="connsiteY4" fmla="*/ 733495 h 733518"/>
                <a:gd name="connsiteX5" fmla="*/ 430435 w 633507"/>
                <a:gd name="connsiteY5" fmla="*/ 276676 h 733518"/>
                <a:gd name="connsiteX6" fmla="*/ 369951 w 633507"/>
                <a:gd name="connsiteY6" fmla="*/ 169901 h 733518"/>
                <a:gd name="connsiteX7" fmla="*/ 203264 w 633507"/>
                <a:gd name="connsiteY7" fmla="*/ 257245 h 733518"/>
                <a:gd name="connsiteX8" fmla="*/ 202502 w 633507"/>
                <a:gd name="connsiteY8" fmla="*/ 733495 h 733518"/>
                <a:gd name="connsiteX9" fmla="*/ 0 w 633507"/>
                <a:gd name="connsiteY9" fmla="*/ 733400 h 733518"/>
                <a:gd name="connsiteX10" fmla="*/ 95 w 633507"/>
                <a:gd name="connsiteY10" fmla="*/ 16739 h 733518"/>
                <a:gd name="connsiteX11" fmla="*/ 202406 w 633507"/>
                <a:gd name="connsiteY11" fmla="*/ 16739 h 733518"/>
                <a:gd name="connsiteX12" fmla="*/ 204883 w 633507"/>
                <a:gd name="connsiteY12" fmla="*/ 144564 h 733518"/>
                <a:gd name="connsiteX13" fmla="*/ 311944 w 633507"/>
                <a:gd name="connsiteY13" fmla="*/ 20073 h 733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507" h="733518">
                  <a:moveTo>
                    <a:pt x="311944" y="20073"/>
                  </a:moveTo>
                  <a:cubicBezTo>
                    <a:pt x="395669" y="-15837"/>
                    <a:pt x="506825" y="-5359"/>
                    <a:pt x="569214" y="66078"/>
                  </a:cubicBezTo>
                  <a:cubicBezTo>
                    <a:pt x="618649" y="123609"/>
                    <a:pt x="632365" y="202572"/>
                    <a:pt x="633413" y="276295"/>
                  </a:cubicBezTo>
                  <a:cubicBezTo>
                    <a:pt x="633603" y="428695"/>
                    <a:pt x="633317" y="581095"/>
                    <a:pt x="633508" y="733495"/>
                  </a:cubicBezTo>
                  <a:lnTo>
                    <a:pt x="431006" y="733495"/>
                  </a:lnTo>
                  <a:cubicBezTo>
                    <a:pt x="430625" y="581190"/>
                    <a:pt x="431864" y="428981"/>
                    <a:pt x="430435" y="276676"/>
                  </a:cubicBezTo>
                  <a:cubicBezTo>
                    <a:pt x="429101" y="234861"/>
                    <a:pt x="415290" y="183045"/>
                    <a:pt x="369951" y="169901"/>
                  </a:cubicBezTo>
                  <a:cubicBezTo>
                    <a:pt x="305086" y="150946"/>
                    <a:pt x="210884" y="180759"/>
                    <a:pt x="203264" y="257245"/>
                  </a:cubicBezTo>
                  <a:cubicBezTo>
                    <a:pt x="201263" y="415931"/>
                    <a:pt x="202978" y="574713"/>
                    <a:pt x="202502" y="733495"/>
                  </a:cubicBezTo>
                  <a:cubicBezTo>
                    <a:pt x="134970" y="733495"/>
                    <a:pt x="67437" y="733590"/>
                    <a:pt x="0" y="733400"/>
                  </a:cubicBezTo>
                  <a:cubicBezTo>
                    <a:pt x="191" y="494513"/>
                    <a:pt x="-95" y="255626"/>
                    <a:pt x="95" y="16739"/>
                  </a:cubicBezTo>
                  <a:lnTo>
                    <a:pt x="202406" y="16739"/>
                  </a:lnTo>
                  <a:cubicBezTo>
                    <a:pt x="203264" y="59315"/>
                    <a:pt x="200025" y="102083"/>
                    <a:pt x="204883" y="144564"/>
                  </a:cubicBezTo>
                  <a:cubicBezTo>
                    <a:pt x="226790" y="93606"/>
                    <a:pt x="258604" y="42456"/>
                    <a:pt x="311944" y="2007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5FB2B6-B36D-28AA-110C-399F8C827B77}"/>
                </a:ext>
              </a:extLst>
            </p:cNvPr>
            <p:cNvSpPr/>
            <p:nvPr/>
          </p:nvSpPr>
          <p:spPr>
            <a:xfrm>
              <a:off x="17116014" y="8849344"/>
              <a:ext cx="669651" cy="749917"/>
            </a:xfrm>
            <a:custGeom>
              <a:avLst/>
              <a:gdLst>
                <a:gd name="connsiteX0" fmla="*/ 174305 w 669651"/>
                <a:gd name="connsiteY0" fmla="*/ 34909 h 749917"/>
                <a:gd name="connsiteX1" fmla="*/ 433670 w 669651"/>
                <a:gd name="connsiteY1" fmla="*/ 11287 h 749917"/>
                <a:gd name="connsiteX2" fmla="*/ 624838 w 669651"/>
                <a:gd name="connsiteY2" fmla="*/ 161973 h 749917"/>
                <a:gd name="connsiteX3" fmla="*/ 669129 w 669651"/>
                <a:gd name="connsiteY3" fmla="*/ 426482 h 749917"/>
                <a:gd name="connsiteX4" fmla="*/ 208500 w 669651"/>
                <a:gd name="connsiteY4" fmla="*/ 426482 h 749917"/>
                <a:gd name="connsiteX5" fmla="*/ 248028 w 669651"/>
                <a:gd name="connsiteY5" fmla="*/ 549450 h 749917"/>
                <a:gd name="connsiteX6" fmla="*/ 408049 w 669651"/>
                <a:gd name="connsiteY6" fmla="*/ 587645 h 749917"/>
                <a:gd name="connsiteX7" fmla="*/ 543589 w 669651"/>
                <a:gd name="connsiteY7" fmla="*/ 505063 h 749917"/>
                <a:gd name="connsiteX8" fmla="*/ 645031 w 669651"/>
                <a:gd name="connsiteY8" fmla="*/ 631269 h 749917"/>
                <a:gd name="connsiteX9" fmla="*/ 388617 w 669651"/>
                <a:gd name="connsiteY9" fmla="*/ 747951 h 749917"/>
                <a:gd name="connsiteX10" fmla="*/ 125441 w 669651"/>
                <a:gd name="connsiteY10" fmla="*/ 681752 h 749917"/>
                <a:gd name="connsiteX11" fmla="*/ 5045 w 669651"/>
                <a:gd name="connsiteY11" fmla="*/ 451342 h 749917"/>
                <a:gd name="connsiteX12" fmla="*/ 33526 w 669651"/>
                <a:gd name="connsiteY12" fmla="*/ 189214 h 749917"/>
                <a:gd name="connsiteX13" fmla="*/ 174305 w 669651"/>
                <a:gd name="connsiteY13" fmla="*/ 34909 h 749917"/>
                <a:gd name="connsiteX14" fmla="*/ 232502 w 669651"/>
                <a:gd name="connsiteY14" fmla="*/ 205788 h 749917"/>
                <a:gd name="connsiteX15" fmla="*/ 208500 w 669651"/>
                <a:gd name="connsiteY15" fmla="*/ 307324 h 749917"/>
                <a:gd name="connsiteX16" fmla="*/ 460722 w 669651"/>
                <a:gd name="connsiteY16" fmla="*/ 307324 h 749917"/>
                <a:gd name="connsiteX17" fmla="*/ 423956 w 669651"/>
                <a:gd name="connsiteY17" fmla="*/ 182547 h 749917"/>
                <a:gd name="connsiteX18" fmla="*/ 232502 w 669651"/>
                <a:gd name="connsiteY18" fmla="*/ 205883 h 7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651" h="749917">
                  <a:moveTo>
                    <a:pt x="174305" y="34909"/>
                  </a:moveTo>
                  <a:cubicBezTo>
                    <a:pt x="254220" y="-3858"/>
                    <a:pt x="347945" y="-8144"/>
                    <a:pt x="433670" y="11287"/>
                  </a:cubicBezTo>
                  <a:cubicBezTo>
                    <a:pt x="515681" y="29956"/>
                    <a:pt x="587690" y="86439"/>
                    <a:pt x="624838" y="161973"/>
                  </a:cubicBezTo>
                  <a:cubicBezTo>
                    <a:pt x="667223" y="243126"/>
                    <a:pt x="671510" y="336852"/>
                    <a:pt x="669129" y="426482"/>
                  </a:cubicBezTo>
                  <a:cubicBezTo>
                    <a:pt x="515586" y="426482"/>
                    <a:pt x="362043" y="426482"/>
                    <a:pt x="208500" y="426482"/>
                  </a:cubicBezTo>
                  <a:cubicBezTo>
                    <a:pt x="208690" y="469916"/>
                    <a:pt x="215834" y="517350"/>
                    <a:pt x="248028" y="549450"/>
                  </a:cubicBezTo>
                  <a:cubicBezTo>
                    <a:pt x="289272" y="590693"/>
                    <a:pt x="353089" y="596217"/>
                    <a:pt x="408049" y="587645"/>
                  </a:cubicBezTo>
                  <a:cubicBezTo>
                    <a:pt x="462341" y="579453"/>
                    <a:pt x="506537" y="543449"/>
                    <a:pt x="543589" y="505063"/>
                  </a:cubicBezTo>
                  <a:cubicBezTo>
                    <a:pt x="577308" y="547259"/>
                    <a:pt x="611216" y="589169"/>
                    <a:pt x="645031" y="631269"/>
                  </a:cubicBezTo>
                  <a:cubicBezTo>
                    <a:pt x="580260" y="703755"/>
                    <a:pt x="484153" y="740997"/>
                    <a:pt x="388617" y="747951"/>
                  </a:cubicBezTo>
                  <a:cubicBezTo>
                    <a:pt x="297273" y="756047"/>
                    <a:pt x="198880" y="740140"/>
                    <a:pt x="125441" y="681752"/>
                  </a:cubicBezTo>
                  <a:cubicBezTo>
                    <a:pt x="54481" y="626602"/>
                    <a:pt x="16381" y="538782"/>
                    <a:pt x="5045" y="451342"/>
                  </a:cubicBezTo>
                  <a:cubicBezTo>
                    <a:pt x="-5812" y="363522"/>
                    <a:pt x="-384" y="271701"/>
                    <a:pt x="33526" y="189214"/>
                  </a:cubicBezTo>
                  <a:cubicBezTo>
                    <a:pt x="60291" y="123301"/>
                    <a:pt x="110011" y="66246"/>
                    <a:pt x="174305" y="34909"/>
                  </a:cubicBezTo>
                  <a:moveTo>
                    <a:pt x="232502" y="205788"/>
                  </a:moveTo>
                  <a:cubicBezTo>
                    <a:pt x="213072" y="235887"/>
                    <a:pt x="209262" y="272367"/>
                    <a:pt x="208500" y="307324"/>
                  </a:cubicBezTo>
                  <a:cubicBezTo>
                    <a:pt x="292510" y="307324"/>
                    <a:pt x="376616" y="307324"/>
                    <a:pt x="460722" y="307324"/>
                  </a:cubicBezTo>
                  <a:cubicBezTo>
                    <a:pt x="459770" y="263890"/>
                    <a:pt x="455292" y="215884"/>
                    <a:pt x="423956" y="182547"/>
                  </a:cubicBezTo>
                  <a:cubicBezTo>
                    <a:pt x="372234" y="128730"/>
                    <a:pt x="270317" y="141780"/>
                    <a:pt x="232502" y="20588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</p:spTree>
    <p:extLst>
      <p:ext uri="{BB962C8B-B14F-4D97-AF65-F5344CB8AC3E}">
        <p14:creationId xmlns:p14="http://schemas.microsoft.com/office/powerpoint/2010/main" val="226154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6" y="191938"/>
            <a:ext cx="5533225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5475" y="1714501"/>
            <a:ext cx="548568" cy="4283868"/>
          </a:xfrm>
        </p:spPr>
        <p:txBody>
          <a:bodyPr/>
          <a:lstStyle>
            <a:lvl1pPr defTabSz="580629">
              <a:spcBef>
                <a:spcPts val="0"/>
              </a:spcBef>
              <a:spcAft>
                <a:spcPts val="900"/>
              </a:spcAft>
              <a:defRPr sz="3200"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0697" y="1714501"/>
            <a:ext cx="4788003" cy="4283868"/>
          </a:xfrm>
        </p:spPr>
        <p:txBody>
          <a:bodyPr/>
          <a:lstStyle>
            <a:lvl1pPr defTabSz="580629">
              <a:spcBef>
                <a:spcPts val="0"/>
              </a:spcBef>
              <a:spcAft>
                <a:spcPts val="900"/>
              </a:spcAft>
              <a:defRPr sz="3200"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F56E4FC-4F4B-6819-0E70-B1E3FCFE1771}"/>
              </a:ext>
            </a:extLst>
          </p:cNvPr>
          <p:cNvGrpSpPr/>
          <p:nvPr userDrawn="1"/>
        </p:nvGrpSpPr>
        <p:grpSpPr>
          <a:xfrm>
            <a:off x="6721558" y="469888"/>
            <a:ext cx="5179175" cy="5340299"/>
            <a:chOff x="13444864" y="939775"/>
            <a:chExt cx="10359699" cy="10680597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C19D446-9B19-9D35-31C5-967D359C48D8}"/>
                </a:ext>
              </a:extLst>
            </p:cNvPr>
            <p:cNvSpPr/>
            <p:nvPr/>
          </p:nvSpPr>
          <p:spPr>
            <a:xfrm>
              <a:off x="17349086" y="767050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4C7E27-E132-CFA4-784E-80F28D9067C6}"/>
                </a:ext>
              </a:extLst>
            </p:cNvPr>
            <p:cNvSpPr/>
            <p:nvPr/>
          </p:nvSpPr>
          <p:spPr>
            <a:xfrm>
              <a:off x="17349086" y="635381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5B2D417-4CC7-D740-8DF7-3FE67DC4106D}"/>
                </a:ext>
              </a:extLst>
            </p:cNvPr>
            <p:cNvSpPr/>
            <p:nvPr/>
          </p:nvSpPr>
          <p:spPr>
            <a:xfrm>
              <a:off x="16032391" y="635381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A2D2D1-B084-06FE-4A84-A027D86BEDF4}"/>
                </a:ext>
              </a:extLst>
            </p:cNvPr>
            <p:cNvSpPr/>
            <p:nvPr/>
          </p:nvSpPr>
          <p:spPr>
            <a:xfrm>
              <a:off x="16032391" y="767050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938E40C-359A-A37F-29E1-EB16CAF3C201}"/>
                </a:ext>
              </a:extLst>
            </p:cNvPr>
            <p:cNvSpPr/>
            <p:nvPr/>
          </p:nvSpPr>
          <p:spPr>
            <a:xfrm>
              <a:off x="17349086" y="10303787"/>
              <a:ext cx="1316693" cy="1316585"/>
            </a:xfrm>
            <a:custGeom>
              <a:avLst/>
              <a:gdLst>
                <a:gd name="connsiteX0" fmla="*/ 1145857 w 1145856"/>
                <a:gd name="connsiteY0" fmla="*/ 1145762 h 1145762"/>
                <a:gd name="connsiteX1" fmla="*/ 1145857 w 1145856"/>
                <a:gd name="connsiteY1" fmla="*/ 0 h 1145762"/>
                <a:gd name="connsiteX2" fmla="*/ 0 w 1145856"/>
                <a:gd name="connsiteY2" fmla="*/ 1145762 h 1145762"/>
                <a:gd name="connsiteX3" fmla="*/ 1145857 w 1145856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762">
                  <a:moveTo>
                    <a:pt x="1145857" y="1145762"/>
                  </a:moveTo>
                  <a:lnTo>
                    <a:pt x="1145857" y="0"/>
                  </a:lnTo>
                  <a:lnTo>
                    <a:pt x="0" y="1145762"/>
                  </a:lnTo>
                  <a:lnTo>
                    <a:pt x="1145857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8A44FA-1611-7D81-EF87-01B6ABFDDF54}"/>
                </a:ext>
              </a:extLst>
            </p:cNvPr>
            <p:cNvSpPr/>
            <p:nvPr/>
          </p:nvSpPr>
          <p:spPr>
            <a:xfrm>
              <a:off x="17349086" y="8987092"/>
              <a:ext cx="1316693" cy="1316694"/>
            </a:xfrm>
            <a:custGeom>
              <a:avLst/>
              <a:gdLst>
                <a:gd name="connsiteX0" fmla="*/ 1145857 w 1145856"/>
                <a:gd name="connsiteY0" fmla="*/ 0 h 1145857"/>
                <a:gd name="connsiteX1" fmla="*/ 0 w 1145856"/>
                <a:gd name="connsiteY1" fmla="*/ 1145858 h 1145857"/>
                <a:gd name="connsiteX2" fmla="*/ 1145857 w 1145856"/>
                <a:gd name="connsiteY2" fmla="*/ 1145858 h 1145857"/>
                <a:gd name="connsiteX3" fmla="*/ 1145857 w 1145856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6" h="1145857">
                  <a:moveTo>
                    <a:pt x="1145857" y="0"/>
                  </a:moveTo>
                  <a:lnTo>
                    <a:pt x="0" y="1145858"/>
                  </a:lnTo>
                  <a:lnTo>
                    <a:pt x="1145857" y="1145858"/>
                  </a:lnTo>
                  <a:lnTo>
                    <a:pt x="1145857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018DDB-59F4-739B-3A29-EA8D360A0F4B}"/>
                </a:ext>
              </a:extLst>
            </p:cNvPr>
            <p:cNvSpPr/>
            <p:nvPr/>
          </p:nvSpPr>
          <p:spPr>
            <a:xfrm>
              <a:off x="16032391" y="8987092"/>
              <a:ext cx="1316694" cy="1316694"/>
            </a:xfrm>
            <a:custGeom>
              <a:avLst/>
              <a:gdLst>
                <a:gd name="connsiteX0" fmla="*/ 0 w 1145857"/>
                <a:gd name="connsiteY0" fmla="*/ 0 h 1145857"/>
                <a:gd name="connsiteX1" fmla="*/ 0 w 1145857"/>
                <a:gd name="connsiteY1" fmla="*/ 1145858 h 1145857"/>
                <a:gd name="connsiteX2" fmla="*/ 1145858 w 1145857"/>
                <a:gd name="connsiteY2" fmla="*/ 1145858 h 1145857"/>
                <a:gd name="connsiteX3" fmla="*/ 0 w 1145857"/>
                <a:gd name="connsiteY3" fmla="*/ 0 h 11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857">
                  <a:moveTo>
                    <a:pt x="0" y="0"/>
                  </a:moveTo>
                  <a:lnTo>
                    <a:pt x="0" y="1145858"/>
                  </a:lnTo>
                  <a:lnTo>
                    <a:pt x="1145858" y="1145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07333AF-A0FA-9C4E-078E-FFAA948EB586}"/>
                </a:ext>
              </a:extLst>
            </p:cNvPr>
            <p:cNvSpPr/>
            <p:nvPr/>
          </p:nvSpPr>
          <p:spPr>
            <a:xfrm>
              <a:off x="16032391" y="10303787"/>
              <a:ext cx="1316694" cy="1316585"/>
            </a:xfrm>
            <a:custGeom>
              <a:avLst/>
              <a:gdLst>
                <a:gd name="connsiteX0" fmla="*/ 1145858 w 1145857"/>
                <a:gd name="connsiteY0" fmla="*/ 1145762 h 1145762"/>
                <a:gd name="connsiteX1" fmla="*/ 0 w 1145857"/>
                <a:gd name="connsiteY1" fmla="*/ 0 h 1145762"/>
                <a:gd name="connsiteX2" fmla="*/ 0 w 1145857"/>
                <a:gd name="connsiteY2" fmla="*/ 1145762 h 1145762"/>
                <a:gd name="connsiteX3" fmla="*/ 1145858 w 1145857"/>
                <a:gd name="connsiteY3" fmla="*/ 1145762 h 114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1145762">
                  <a:moveTo>
                    <a:pt x="1145858" y="1145762"/>
                  </a:moveTo>
                  <a:lnTo>
                    <a:pt x="0" y="0"/>
                  </a:lnTo>
                  <a:lnTo>
                    <a:pt x="0" y="1145762"/>
                  </a:lnTo>
                  <a:lnTo>
                    <a:pt x="1145858" y="1145762"/>
                  </a:lnTo>
                  <a:close/>
                </a:path>
              </a:pathLst>
            </a:custGeom>
            <a:solidFill>
              <a:srgbClr val="1062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E5D0604-71A4-3262-6777-C26A1E4BED09}"/>
                </a:ext>
              </a:extLst>
            </p:cNvPr>
            <p:cNvGrpSpPr/>
            <p:nvPr userDrawn="1"/>
          </p:nvGrpSpPr>
          <p:grpSpPr>
            <a:xfrm>
              <a:off x="19116217" y="8045049"/>
              <a:ext cx="4688346" cy="3575323"/>
              <a:chOff x="18665871" y="6353812"/>
              <a:chExt cx="4688346" cy="3575323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C8CEC6E-2EF3-9151-AD14-A5B1C424012D}"/>
                  </a:ext>
                </a:extLst>
              </p:cNvPr>
              <p:cNvSpPr/>
              <p:nvPr/>
            </p:nvSpPr>
            <p:spPr>
              <a:xfrm>
                <a:off x="20228520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98B6CDA-933B-C2CE-5627-85D68933F21B}"/>
                  </a:ext>
                </a:extLst>
              </p:cNvPr>
              <p:cNvSpPr/>
              <p:nvPr/>
            </p:nvSpPr>
            <p:spPr>
              <a:xfrm>
                <a:off x="21098546" y="6353812"/>
                <a:ext cx="692824" cy="696764"/>
              </a:xfrm>
              <a:custGeom>
                <a:avLst/>
                <a:gdLst>
                  <a:gd name="connsiteX0" fmla="*/ 602933 w 602932"/>
                  <a:gd name="connsiteY0" fmla="*/ 303181 h 606361"/>
                  <a:gd name="connsiteX1" fmla="*/ 301466 w 602932"/>
                  <a:gd name="connsiteY1" fmla="*/ 606362 h 606361"/>
                  <a:gd name="connsiteX2" fmla="*/ 0 w 602932"/>
                  <a:gd name="connsiteY2" fmla="*/ 303181 h 606361"/>
                  <a:gd name="connsiteX3" fmla="*/ 301466 w 602932"/>
                  <a:gd name="connsiteY3" fmla="*/ 0 h 606361"/>
                  <a:gd name="connsiteX4" fmla="*/ 602933 w 602932"/>
                  <a:gd name="connsiteY4" fmla="*/ 303181 h 606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2932" h="606361">
                    <a:moveTo>
                      <a:pt x="602933" y="303181"/>
                    </a:moveTo>
                    <a:cubicBezTo>
                      <a:pt x="602933" y="470623"/>
                      <a:pt x="467962" y="606362"/>
                      <a:pt x="301466" y="606362"/>
                    </a:cubicBezTo>
                    <a:cubicBezTo>
                      <a:pt x="134971" y="606362"/>
                      <a:pt x="0" y="470623"/>
                      <a:pt x="0" y="303181"/>
                    </a:cubicBezTo>
                    <a:cubicBezTo>
                      <a:pt x="0" y="135739"/>
                      <a:pt x="134971" y="0"/>
                      <a:pt x="301466" y="0"/>
                    </a:cubicBezTo>
                    <a:cubicBezTo>
                      <a:pt x="467962" y="0"/>
                      <a:pt x="602933" y="135739"/>
                      <a:pt x="602933" y="303181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1A88E81-4E6F-DCE8-E2C2-C3BCBC558A77}"/>
                  </a:ext>
                </a:extLst>
              </p:cNvPr>
              <p:cNvSpPr/>
              <p:nvPr/>
            </p:nvSpPr>
            <p:spPr>
              <a:xfrm>
                <a:off x="18665871" y="7515196"/>
                <a:ext cx="1591215" cy="1715533"/>
              </a:xfrm>
              <a:custGeom>
                <a:avLst/>
                <a:gdLst>
                  <a:gd name="connsiteX0" fmla="*/ 358156 w 1384760"/>
                  <a:gd name="connsiteY0" fmla="*/ 455676 h 1492948"/>
                  <a:gd name="connsiteX1" fmla="*/ 16 w 1384760"/>
                  <a:gd name="connsiteY1" fmla="*/ 962787 h 1492948"/>
                  <a:gd name="connsiteX2" fmla="*/ 528367 w 1384760"/>
                  <a:gd name="connsiteY2" fmla="*/ 1492949 h 1492948"/>
                  <a:gd name="connsiteX3" fmla="*/ 1039004 w 1384760"/>
                  <a:gd name="connsiteY3" fmla="*/ 1102900 h 1492948"/>
                  <a:gd name="connsiteX4" fmla="*/ 1384761 w 1384760"/>
                  <a:gd name="connsiteY4" fmla="*/ 0 h 1492948"/>
                  <a:gd name="connsiteX5" fmla="*/ 358156 w 1384760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760" h="1492948">
                    <a:moveTo>
                      <a:pt x="358156" y="455676"/>
                    </a:moveTo>
                    <a:cubicBezTo>
                      <a:pt x="150702" y="547878"/>
                      <a:pt x="-1793" y="714566"/>
                      <a:pt x="16" y="962787"/>
                    </a:cubicBezTo>
                    <a:cubicBezTo>
                      <a:pt x="16" y="1255395"/>
                      <a:pt x="237570" y="1492949"/>
                      <a:pt x="528367" y="1492949"/>
                    </a:cubicBezTo>
                    <a:cubicBezTo>
                      <a:pt x="819166" y="1492949"/>
                      <a:pt x="973472" y="1299686"/>
                      <a:pt x="1039004" y="1102900"/>
                    </a:cubicBezTo>
                    <a:lnTo>
                      <a:pt x="1384761" y="0"/>
                    </a:lnTo>
                    <a:lnTo>
                      <a:pt x="358156" y="45567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E874D3F4-95F3-B3B2-1746-FEECEA5BA626}"/>
                  </a:ext>
                </a:extLst>
              </p:cNvPr>
              <p:cNvSpPr/>
              <p:nvPr/>
            </p:nvSpPr>
            <p:spPr>
              <a:xfrm>
                <a:off x="21762911" y="7515196"/>
                <a:ext cx="1591306" cy="1715533"/>
              </a:xfrm>
              <a:custGeom>
                <a:avLst/>
                <a:gdLst>
                  <a:gd name="connsiteX0" fmla="*/ 1026605 w 1384839"/>
                  <a:gd name="connsiteY0" fmla="*/ 455676 h 1492948"/>
                  <a:gd name="connsiteX1" fmla="*/ 0 w 1384839"/>
                  <a:gd name="connsiteY1" fmla="*/ 0 h 1492948"/>
                  <a:gd name="connsiteX2" fmla="*/ 345758 w 1384839"/>
                  <a:gd name="connsiteY2" fmla="*/ 1102900 h 1492948"/>
                  <a:gd name="connsiteX3" fmla="*/ 858203 w 1384839"/>
                  <a:gd name="connsiteY3" fmla="*/ 1492949 h 1492948"/>
                  <a:gd name="connsiteX4" fmla="*/ 1384840 w 1384839"/>
                  <a:gd name="connsiteY4" fmla="*/ 962787 h 1492948"/>
                  <a:gd name="connsiteX5" fmla="*/ 1026700 w 1384839"/>
                  <a:gd name="connsiteY5" fmla="*/ 455676 h 1492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4839" h="1492948">
                    <a:moveTo>
                      <a:pt x="1026605" y="455676"/>
                    </a:moveTo>
                    <a:lnTo>
                      <a:pt x="0" y="0"/>
                    </a:lnTo>
                    <a:lnTo>
                      <a:pt x="345758" y="1102900"/>
                    </a:lnTo>
                    <a:cubicBezTo>
                      <a:pt x="411385" y="1299686"/>
                      <a:pt x="578073" y="1492949"/>
                      <a:pt x="858203" y="1492949"/>
                    </a:cubicBezTo>
                    <a:cubicBezTo>
                      <a:pt x="1138333" y="1492949"/>
                      <a:pt x="1384840" y="1255300"/>
                      <a:pt x="1384840" y="962787"/>
                    </a:cubicBezTo>
                    <a:cubicBezTo>
                      <a:pt x="1384840" y="714566"/>
                      <a:pt x="1234155" y="547878"/>
                      <a:pt x="1026700" y="4556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F92CEBD-3053-5B9E-A1FB-D34D266A91CA}"/>
                  </a:ext>
                </a:extLst>
              </p:cNvPr>
              <p:cNvSpPr/>
              <p:nvPr/>
            </p:nvSpPr>
            <p:spPr>
              <a:xfrm>
                <a:off x="20328449" y="7195271"/>
                <a:ext cx="1363101" cy="436052"/>
              </a:xfrm>
              <a:custGeom>
                <a:avLst/>
                <a:gdLst>
                  <a:gd name="connsiteX0" fmla="*/ 0 w 1186243"/>
                  <a:gd name="connsiteY0" fmla="*/ 379476 h 379476"/>
                  <a:gd name="connsiteX1" fmla="*/ 1186244 w 1186243"/>
                  <a:gd name="connsiteY1" fmla="*/ 379476 h 379476"/>
                  <a:gd name="connsiteX2" fmla="*/ 592265 w 1186243"/>
                  <a:gd name="connsiteY2" fmla="*/ 0 h 379476"/>
                  <a:gd name="connsiteX3" fmla="*/ 0 w 1186243"/>
                  <a:gd name="connsiteY3" fmla="*/ 379476 h 37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6">
                    <a:moveTo>
                      <a:pt x="0" y="379476"/>
                    </a:moveTo>
                    <a:lnTo>
                      <a:pt x="1186244" y="379476"/>
                    </a:lnTo>
                    <a:cubicBezTo>
                      <a:pt x="1081658" y="156020"/>
                      <a:pt x="854678" y="0"/>
                      <a:pt x="592265" y="0"/>
                    </a:cubicBezTo>
                    <a:cubicBezTo>
                      <a:pt x="329851" y="0"/>
                      <a:pt x="104680" y="156020"/>
                      <a:pt x="0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564CE5C-12FD-B249-1D0D-F2A069CD6792}"/>
                  </a:ext>
                </a:extLst>
              </p:cNvPr>
              <p:cNvSpPr/>
              <p:nvPr/>
            </p:nvSpPr>
            <p:spPr>
              <a:xfrm>
                <a:off x="20257087" y="7981786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843E3C8-1E4C-DCB0-2AE2-A81D7CB66805}"/>
                  </a:ext>
                </a:extLst>
              </p:cNvPr>
              <p:cNvSpPr/>
              <p:nvPr/>
            </p:nvSpPr>
            <p:spPr>
              <a:xfrm>
                <a:off x="20257087" y="8737653"/>
                <a:ext cx="1505716" cy="405405"/>
              </a:xfrm>
              <a:custGeom>
                <a:avLst/>
                <a:gdLst>
                  <a:gd name="connsiteX0" fmla="*/ 0 w 1310354"/>
                  <a:gd name="connsiteY0" fmla="*/ 0 h 352805"/>
                  <a:gd name="connsiteX1" fmla="*/ 1310354 w 1310354"/>
                  <a:gd name="connsiteY1" fmla="*/ 0 h 352805"/>
                  <a:gd name="connsiteX2" fmla="*/ 1310354 w 1310354"/>
                  <a:gd name="connsiteY2" fmla="*/ 352806 h 352805"/>
                  <a:gd name="connsiteX3" fmla="*/ 0 w 1310354"/>
                  <a:gd name="connsiteY3" fmla="*/ 352806 h 35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0354" h="352805">
                    <a:moveTo>
                      <a:pt x="0" y="0"/>
                    </a:moveTo>
                    <a:lnTo>
                      <a:pt x="1310354" y="0"/>
                    </a:lnTo>
                    <a:lnTo>
                      <a:pt x="1310354" y="352806"/>
                    </a:lnTo>
                    <a:lnTo>
                      <a:pt x="0" y="352806"/>
                    </a:ln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9BE9E2B-4614-4D59-8F8C-EC0679543296}"/>
                  </a:ext>
                </a:extLst>
              </p:cNvPr>
              <p:cNvSpPr/>
              <p:nvPr/>
            </p:nvSpPr>
            <p:spPr>
              <a:xfrm>
                <a:off x="20328558" y="9493084"/>
                <a:ext cx="1363101" cy="436051"/>
              </a:xfrm>
              <a:custGeom>
                <a:avLst/>
                <a:gdLst>
                  <a:gd name="connsiteX0" fmla="*/ 593979 w 1186243"/>
                  <a:gd name="connsiteY0" fmla="*/ 379476 h 379475"/>
                  <a:gd name="connsiteX1" fmla="*/ 1186244 w 1186243"/>
                  <a:gd name="connsiteY1" fmla="*/ 0 h 379475"/>
                  <a:gd name="connsiteX2" fmla="*/ 0 w 1186243"/>
                  <a:gd name="connsiteY2" fmla="*/ 0 h 379475"/>
                  <a:gd name="connsiteX3" fmla="*/ 593979 w 1186243"/>
                  <a:gd name="connsiteY3" fmla="*/ 379476 h 379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6243" h="379475">
                    <a:moveTo>
                      <a:pt x="593979" y="379476"/>
                    </a:moveTo>
                    <a:cubicBezTo>
                      <a:pt x="856393" y="379476"/>
                      <a:pt x="1081563" y="223456"/>
                      <a:pt x="1186244" y="0"/>
                    </a:cubicBezTo>
                    <a:lnTo>
                      <a:pt x="0" y="0"/>
                    </a:lnTo>
                    <a:cubicBezTo>
                      <a:pt x="104584" y="223456"/>
                      <a:pt x="331565" y="379476"/>
                      <a:pt x="593979" y="379476"/>
                    </a:cubicBezTo>
                    <a:close/>
                  </a:path>
                </a:pathLst>
              </a:custGeom>
              <a:solidFill>
                <a:srgbClr val="A46E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79D554C5-4D78-A521-DE6D-6976CCC21952}"/>
                </a:ext>
              </a:extLst>
            </p:cNvPr>
            <p:cNvGrpSpPr/>
            <p:nvPr userDrawn="1"/>
          </p:nvGrpSpPr>
          <p:grpSpPr>
            <a:xfrm>
              <a:off x="18629724" y="3527195"/>
              <a:ext cx="2587419" cy="2587313"/>
              <a:chOff x="18629724" y="3527195"/>
              <a:chExt cx="2587419" cy="2587313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5A806E2-6E9A-03EC-ECFB-67CA83F60271}"/>
                  </a:ext>
                </a:extLst>
              </p:cNvPr>
              <p:cNvSpPr/>
              <p:nvPr/>
            </p:nvSpPr>
            <p:spPr>
              <a:xfrm>
                <a:off x="18629724" y="4820852"/>
                <a:ext cx="1293763" cy="1293656"/>
              </a:xfrm>
              <a:custGeom>
                <a:avLst/>
                <a:gdLst>
                  <a:gd name="connsiteX0" fmla="*/ 0 w 1145857"/>
                  <a:gd name="connsiteY0" fmla="*/ 1145762 h 1145762"/>
                  <a:gd name="connsiteX1" fmla="*/ 1145858 w 1145857"/>
                  <a:gd name="connsiteY1" fmla="*/ 1145762 h 1145762"/>
                  <a:gd name="connsiteX2" fmla="*/ 0 w 1145857"/>
                  <a:gd name="connsiteY2" fmla="*/ 0 h 1145762"/>
                  <a:gd name="connsiteX3" fmla="*/ 0 w 1145857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1145762"/>
                    </a:moveTo>
                    <a:lnTo>
                      <a:pt x="1145858" y="1145762"/>
                    </a:lnTo>
                    <a:lnTo>
                      <a:pt x="0" y="0"/>
                    </a:lnTo>
                    <a:lnTo>
                      <a:pt x="0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34F7C97-D53E-0D16-A284-6ADEFE52914F}"/>
                  </a:ext>
                </a:extLst>
              </p:cNvPr>
              <p:cNvSpPr/>
              <p:nvPr/>
            </p:nvSpPr>
            <p:spPr>
              <a:xfrm>
                <a:off x="18629724" y="3527195"/>
                <a:ext cx="1293763" cy="1293656"/>
              </a:xfrm>
              <a:custGeom>
                <a:avLst/>
                <a:gdLst>
                  <a:gd name="connsiteX0" fmla="*/ 0 w 1145857"/>
                  <a:gd name="connsiteY0" fmla="*/ 0 h 1145762"/>
                  <a:gd name="connsiteX1" fmla="*/ 0 w 1145857"/>
                  <a:gd name="connsiteY1" fmla="*/ 1145762 h 1145762"/>
                  <a:gd name="connsiteX2" fmla="*/ 1145858 w 1145857"/>
                  <a:gd name="connsiteY2" fmla="*/ 0 h 1145762"/>
                  <a:gd name="connsiteX3" fmla="*/ 0 w 1145857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857" h="1145762">
                    <a:moveTo>
                      <a:pt x="0" y="0"/>
                    </a:moveTo>
                    <a:lnTo>
                      <a:pt x="0" y="1145762"/>
                    </a:lnTo>
                    <a:lnTo>
                      <a:pt x="114585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8FCE339-B37E-CC68-C265-877A24B1FFBA}"/>
                  </a:ext>
                </a:extLst>
              </p:cNvPr>
              <p:cNvSpPr/>
              <p:nvPr/>
            </p:nvSpPr>
            <p:spPr>
              <a:xfrm>
                <a:off x="19923487" y="3527195"/>
                <a:ext cx="1293656" cy="1293656"/>
              </a:xfrm>
              <a:custGeom>
                <a:avLst/>
                <a:gdLst>
                  <a:gd name="connsiteX0" fmla="*/ 0 w 1145762"/>
                  <a:gd name="connsiteY0" fmla="*/ 0 h 1145762"/>
                  <a:gd name="connsiteX1" fmla="*/ 1145762 w 1145762"/>
                  <a:gd name="connsiteY1" fmla="*/ 1145762 h 1145762"/>
                  <a:gd name="connsiteX2" fmla="*/ 1145762 w 1145762"/>
                  <a:gd name="connsiteY2" fmla="*/ 0 h 1145762"/>
                  <a:gd name="connsiteX3" fmla="*/ 0 w 1145762"/>
                  <a:gd name="connsiteY3" fmla="*/ 0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0" y="0"/>
                    </a:moveTo>
                    <a:lnTo>
                      <a:pt x="1145762" y="1145762"/>
                    </a:lnTo>
                    <a:lnTo>
                      <a:pt x="114576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18D16EF-9D55-AE23-E4CE-EE677917EACB}"/>
                  </a:ext>
                </a:extLst>
              </p:cNvPr>
              <p:cNvSpPr/>
              <p:nvPr/>
            </p:nvSpPr>
            <p:spPr>
              <a:xfrm>
                <a:off x="19923487" y="4820852"/>
                <a:ext cx="1293656" cy="1293656"/>
              </a:xfrm>
              <a:custGeom>
                <a:avLst/>
                <a:gdLst>
                  <a:gd name="connsiteX0" fmla="*/ 1145762 w 1145762"/>
                  <a:gd name="connsiteY0" fmla="*/ 1145762 h 1145762"/>
                  <a:gd name="connsiteX1" fmla="*/ 1145762 w 1145762"/>
                  <a:gd name="connsiteY1" fmla="*/ 0 h 1145762"/>
                  <a:gd name="connsiteX2" fmla="*/ 0 w 1145762"/>
                  <a:gd name="connsiteY2" fmla="*/ 1145762 h 1145762"/>
                  <a:gd name="connsiteX3" fmla="*/ 1145762 w 1145762"/>
                  <a:gd name="connsiteY3" fmla="*/ 1145762 h 11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5762" h="1145762">
                    <a:moveTo>
                      <a:pt x="1145762" y="1145762"/>
                    </a:moveTo>
                    <a:lnTo>
                      <a:pt x="1145762" y="0"/>
                    </a:lnTo>
                    <a:lnTo>
                      <a:pt x="0" y="1145762"/>
                    </a:lnTo>
                    <a:lnTo>
                      <a:pt x="1145762" y="1145762"/>
                    </a:lnTo>
                    <a:close/>
                  </a:path>
                </a:pathLst>
              </a:custGeom>
              <a:solidFill>
                <a:srgbClr val="FA4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C7BFF6C-B251-D366-5456-A88198077E4E}"/>
                </a:ext>
              </a:extLst>
            </p:cNvPr>
            <p:cNvSpPr/>
            <p:nvPr userDrawn="1"/>
          </p:nvSpPr>
          <p:spPr>
            <a:xfrm>
              <a:off x="21217143" y="939775"/>
              <a:ext cx="1293763" cy="2587419"/>
            </a:xfrm>
            <a:custGeom>
              <a:avLst/>
              <a:gdLst>
                <a:gd name="connsiteX0" fmla="*/ 1145858 w 1145857"/>
                <a:gd name="connsiteY0" fmla="*/ 1145762 h 2291619"/>
                <a:gd name="connsiteX1" fmla="*/ 0 w 1145857"/>
                <a:gd name="connsiteY1" fmla="*/ 0 h 2291619"/>
                <a:gd name="connsiteX2" fmla="*/ 0 w 1145857"/>
                <a:gd name="connsiteY2" fmla="*/ 2291620 h 2291619"/>
                <a:gd name="connsiteX3" fmla="*/ 1145762 w 1145857"/>
                <a:gd name="connsiteY3" fmla="*/ 1145858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857" h="2291619">
                  <a:moveTo>
                    <a:pt x="1145858" y="1145762"/>
                  </a:moveTo>
                  <a:cubicBezTo>
                    <a:pt x="1145858" y="513112"/>
                    <a:pt x="632746" y="0"/>
                    <a:pt x="0" y="0"/>
                  </a:cubicBezTo>
                  <a:lnTo>
                    <a:pt x="0" y="2291620"/>
                  </a:lnTo>
                  <a:cubicBezTo>
                    <a:pt x="632746" y="2291620"/>
                    <a:pt x="1145762" y="1778699"/>
                    <a:pt x="1145762" y="1145858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5E291BF-A9FF-E67A-5CF9-D17412BE7D09}"/>
                </a:ext>
              </a:extLst>
            </p:cNvPr>
            <p:cNvSpPr/>
            <p:nvPr userDrawn="1"/>
          </p:nvSpPr>
          <p:spPr>
            <a:xfrm>
              <a:off x="22510907" y="939775"/>
              <a:ext cx="1293656" cy="2587419"/>
            </a:xfrm>
            <a:custGeom>
              <a:avLst/>
              <a:gdLst>
                <a:gd name="connsiteX0" fmla="*/ 1145762 w 1145762"/>
                <a:gd name="connsiteY0" fmla="*/ 2291620 h 2291619"/>
                <a:gd name="connsiteX1" fmla="*/ 1145762 w 1145762"/>
                <a:gd name="connsiteY1" fmla="*/ 0 h 2291619"/>
                <a:gd name="connsiteX2" fmla="*/ 0 w 1145762"/>
                <a:gd name="connsiteY2" fmla="*/ 1145762 h 2291619"/>
                <a:gd name="connsiteX3" fmla="*/ 1145762 w 1145762"/>
                <a:gd name="connsiteY3" fmla="*/ 2291525 h 229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762" h="2291619">
                  <a:moveTo>
                    <a:pt x="1145762" y="2291620"/>
                  </a:moveTo>
                  <a:lnTo>
                    <a:pt x="1145762" y="0"/>
                  </a:lnTo>
                  <a:cubicBezTo>
                    <a:pt x="513016" y="0"/>
                    <a:pt x="0" y="513112"/>
                    <a:pt x="0" y="1145762"/>
                  </a:cubicBezTo>
                  <a:cubicBezTo>
                    <a:pt x="0" y="1778413"/>
                    <a:pt x="513112" y="2291525"/>
                    <a:pt x="1145762" y="2291525"/>
                  </a:cubicBezTo>
                  <a:close/>
                </a:path>
              </a:pathLst>
            </a:custGeom>
            <a:solidFill>
              <a:srgbClr val="0ABDB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65723C4-9949-A789-0B35-B727B72E3A78}"/>
                </a:ext>
              </a:extLst>
            </p:cNvPr>
            <p:cNvSpPr/>
            <p:nvPr userDrawn="1"/>
          </p:nvSpPr>
          <p:spPr>
            <a:xfrm>
              <a:off x="19059687" y="2464761"/>
              <a:ext cx="211432" cy="211217"/>
            </a:xfrm>
            <a:custGeom>
              <a:avLst/>
              <a:gdLst>
                <a:gd name="connsiteX0" fmla="*/ 38100 w 187261"/>
                <a:gd name="connsiteY0" fmla="*/ 187071 h 187070"/>
                <a:gd name="connsiteX1" fmla="*/ 93631 w 187261"/>
                <a:gd name="connsiteY1" fmla="*/ 131540 h 187070"/>
                <a:gd name="connsiteX2" fmla="*/ 149257 w 187261"/>
                <a:gd name="connsiteY2" fmla="*/ 187071 h 187070"/>
                <a:gd name="connsiteX3" fmla="*/ 187262 w 187261"/>
                <a:gd name="connsiteY3" fmla="*/ 149162 h 187070"/>
                <a:gd name="connsiteX4" fmla="*/ 131636 w 187261"/>
                <a:gd name="connsiteY4" fmla="*/ 93535 h 187070"/>
                <a:gd name="connsiteX5" fmla="*/ 187262 w 187261"/>
                <a:gd name="connsiteY5" fmla="*/ 37909 h 187070"/>
                <a:gd name="connsiteX6" fmla="*/ 149257 w 187261"/>
                <a:gd name="connsiteY6" fmla="*/ 0 h 187070"/>
                <a:gd name="connsiteX7" fmla="*/ 93631 w 187261"/>
                <a:gd name="connsiteY7" fmla="*/ 55531 h 187070"/>
                <a:gd name="connsiteX8" fmla="*/ 38100 w 187261"/>
                <a:gd name="connsiteY8" fmla="*/ 0 h 187070"/>
                <a:gd name="connsiteX9" fmla="*/ 0 w 187261"/>
                <a:gd name="connsiteY9" fmla="*/ 37909 h 187070"/>
                <a:gd name="connsiteX10" fmla="*/ 55626 w 187261"/>
                <a:gd name="connsiteY10" fmla="*/ 93535 h 187070"/>
                <a:gd name="connsiteX11" fmla="*/ 0 w 187261"/>
                <a:gd name="connsiteY11" fmla="*/ 149162 h 187070"/>
                <a:gd name="connsiteX12" fmla="*/ 38100 w 187261"/>
                <a:gd name="connsiteY12" fmla="*/ 187071 h 187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261" h="187070">
                  <a:moveTo>
                    <a:pt x="38100" y="187071"/>
                  </a:moveTo>
                  <a:lnTo>
                    <a:pt x="93631" y="131540"/>
                  </a:lnTo>
                  <a:lnTo>
                    <a:pt x="149257" y="187071"/>
                  </a:lnTo>
                  <a:lnTo>
                    <a:pt x="187262" y="149162"/>
                  </a:lnTo>
                  <a:lnTo>
                    <a:pt x="131636" y="93535"/>
                  </a:lnTo>
                  <a:lnTo>
                    <a:pt x="187262" y="37909"/>
                  </a:lnTo>
                  <a:lnTo>
                    <a:pt x="149257" y="0"/>
                  </a:lnTo>
                  <a:lnTo>
                    <a:pt x="93631" y="55531"/>
                  </a:lnTo>
                  <a:lnTo>
                    <a:pt x="38100" y="0"/>
                  </a:lnTo>
                  <a:lnTo>
                    <a:pt x="0" y="37909"/>
                  </a:lnTo>
                  <a:lnTo>
                    <a:pt x="55626" y="93535"/>
                  </a:lnTo>
                  <a:lnTo>
                    <a:pt x="0" y="149162"/>
                  </a:lnTo>
                  <a:lnTo>
                    <a:pt x="38100" y="18707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A7F88A4-A960-85A9-3922-B941EE48E198}"/>
                </a:ext>
              </a:extLst>
            </p:cNvPr>
            <p:cNvSpPr/>
            <p:nvPr userDrawn="1"/>
          </p:nvSpPr>
          <p:spPr>
            <a:xfrm>
              <a:off x="20660061" y="2127822"/>
              <a:ext cx="211325" cy="211325"/>
            </a:xfrm>
            <a:custGeom>
              <a:avLst/>
              <a:gdLst>
                <a:gd name="connsiteX0" fmla="*/ 149162 w 187166"/>
                <a:gd name="connsiteY0" fmla="*/ 0 h 187166"/>
                <a:gd name="connsiteX1" fmla="*/ 93536 w 187166"/>
                <a:gd name="connsiteY1" fmla="*/ 55531 h 187166"/>
                <a:gd name="connsiteX2" fmla="*/ 38005 w 187166"/>
                <a:gd name="connsiteY2" fmla="*/ 0 h 187166"/>
                <a:gd name="connsiteX3" fmla="*/ 0 w 187166"/>
                <a:gd name="connsiteY3" fmla="*/ 37909 h 187166"/>
                <a:gd name="connsiteX4" fmla="*/ 55626 w 187166"/>
                <a:gd name="connsiteY4" fmla="*/ 93536 h 187166"/>
                <a:gd name="connsiteX5" fmla="*/ 0 w 187166"/>
                <a:gd name="connsiteY5" fmla="*/ 149161 h 187166"/>
                <a:gd name="connsiteX6" fmla="*/ 38005 w 187166"/>
                <a:gd name="connsiteY6" fmla="*/ 187166 h 187166"/>
                <a:gd name="connsiteX7" fmla="*/ 93536 w 187166"/>
                <a:gd name="connsiteY7" fmla="*/ 131540 h 187166"/>
                <a:gd name="connsiteX8" fmla="*/ 149162 w 187166"/>
                <a:gd name="connsiteY8" fmla="*/ 187166 h 187166"/>
                <a:gd name="connsiteX9" fmla="*/ 187166 w 187166"/>
                <a:gd name="connsiteY9" fmla="*/ 149161 h 187166"/>
                <a:gd name="connsiteX10" fmla="*/ 131540 w 187166"/>
                <a:gd name="connsiteY10" fmla="*/ 93536 h 187166"/>
                <a:gd name="connsiteX11" fmla="*/ 187166 w 187166"/>
                <a:gd name="connsiteY11" fmla="*/ 37909 h 187166"/>
                <a:gd name="connsiteX12" fmla="*/ 149162 w 187166"/>
                <a:gd name="connsiteY12" fmla="*/ 0 h 187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166" h="187166">
                  <a:moveTo>
                    <a:pt x="149162" y="0"/>
                  </a:moveTo>
                  <a:lnTo>
                    <a:pt x="93536" y="55531"/>
                  </a:lnTo>
                  <a:lnTo>
                    <a:pt x="38005" y="0"/>
                  </a:lnTo>
                  <a:lnTo>
                    <a:pt x="0" y="37909"/>
                  </a:lnTo>
                  <a:lnTo>
                    <a:pt x="55626" y="93536"/>
                  </a:lnTo>
                  <a:lnTo>
                    <a:pt x="0" y="149161"/>
                  </a:lnTo>
                  <a:lnTo>
                    <a:pt x="38005" y="187166"/>
                  </a:lnTo>
                  <a:lnTo>
                    <a:pt x="93536" y="131540"/>
                  </a:lnTo>
                  <a:lnTo>
                    <a:pt x="149162" y="187166"/>
                  </a:lnTo>
                  <a:lnTo>
                    <a:pt x="187166" y="149161"/>
                  </a:lnTo>
                  <a:lnTo>
                    <a:pt x="131540" y="93536"/>
                  </a:lnTo>
                  <a:lnTo>
                    <a:pt x="187166" y="37909"/>
                  </a:lnTo>
                  <a:lnTo>
                    <a:pt x="149162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0529A54-DBAB-0013-DE16-8EA9BCE6137E}"/>
                </a:ext>
              </a:extLst>
            </p:cNvPr>
            <p:cNvSpPr/>
            <p:nvPr userDrawn="1"/>
          </p:nvSpPr>
          <p:spPr>
            <a:xfrm>
              <a:off x="18629724" y="939775"/>
              <a:ext cx="2587527" cy="2587312"/>
            </a:xfrm>
            <a:custGeom>
              <a:avLst/>
              <a:gdLst>
                <a:gd name="connsiteX0" fmla="*/ 2237899 w 2291715"/>
                <a:gd name="connsiteY0" fmla="*/ 1145762 h 2291524"/>
                <a:gd name="connsiteX1" fmla="*/ 1145858 w 2291715"/>
                <a:gd name="connsiteY1" fmla="*/ 2237899 h 2291524"/>
                <a:gd name="connsiteX2" fmla="*/ 53721 w 2291715"/>
                <a:gd name="connsiteY2" fmla="*/ 1145762 h 2291524"/>
                <a:gd name="connsiteX3" fmla="*/ 1145858 w 2291715"/>
                <a:gd name="connsiteY3" fmla="*/ 53721 h 2291524"/>
                <a:gd name="connsiteX4" fmla="*/ 1898904 w 2291715"/>
                <a:gd name="connsiteY4" fmla="*/ 354806 h 2291524"/>
                <a:gd name="connsiteX5" fmla="*/ 1673066 w 2291715"/>
                <a:gd name="connsiteY5" fmla="*/ 580644 h 2291524"/>
                <a:gd name="connsiteX6" fmla="*/ 1145858 w 2291715"/>
                <a:gd name="connsiteY6" fmla="*/ 372999 h 2291524"/>
                <a:gd name="connsiteX7" fmla="*/ 372999 w 2291715"/>
                <a:gd name="connsiteY7" fmla="*/ 1145858 h 2291524"/>
                <a:gd name="connsiteX8" fmla="*/ 388715 w 2291715"/>
                <a:gd name="connsiteY8" fmla="*/ 1301496 h 2291524"/>
                <a:gd name="connsiteX9" fmla="*/ 441293 w 2291715"/>
                <a:gd name="connsiteY9" fmla="*/ 1290828 h 2291524"/>
                <a:gd name="connsiteX10" fmla="*/ 426720 w 2291715"/>
                <a:gd name="connsiteY10" fmla="*/ 1145858 h 2291524"/>
                <a:gd name="connsiteX11" fmla="*/ 1145762 w 2291715"/>
                <a:gd name="connsiteY11" fmla="*/ 426720 h 2291524"/>
                <a:gd name="connsiteX12" fmla="*/ 1634966 w 2291715"/>
                <a:gd name="connsiteY12" fmla="*/ 618744 h 2291524"/>
                <a:gd name="connsiteX13" fmla="*/ 1408938 w 2291715"/>
                <a:gd name="connsiteY13" fmla="*/ 844772 h 2291524"/>
                <a:gd name="connsiteX14" fmla="*/ 994601 w 2291715"/>
                <a:gd name="connsiteY14" fmla="*/ 776764 h 2291524"/>
                <a:gd name="connsiteX15" fmla="*/ 922020 w 2291715"/>
                <a:gd name="connsiteY15" fmla="*/ 745998 h 2291524"/>
                <a:gd name="connsiteX16" fmla="*/ 820579 w 2291715"/>
                <a:gd name="connsiteY16" fmla="*/ 847439 h 2291524"/>
                <a:gd name="connsiteX17" fmla="*/ 834295 w 2291715"/>
                <a:gd name="connsiteY17" fmla="*/ 897446 h 2291524"/>
                <a:gd name="connsiteX18" fmla="*/ 745903 w 2291715"/>
                <a:gd name="connsiteY18" fmla="*/ 1145762 h 2291524"/>
                <a:gd name="connsiteX19" fmla="*/ 1145762 w 2291715"/>
                <a:gd name="connsiteY19" fmla="*/ 1545622 h 2291524"/>
                <a:gd name="connsiteX20" fmla="*/ 1545622 w 2291715"/>
                <a:gd name="connsiteY20" fmla="*/ 1145762 h 2291524"/>
                <a:gd name="connsiteX21" fmla="*/ 1491901 w 2291715"/>
                <a:gd name="connsiteY21" fmla="*/ 1145762 h 2291524"/>
                <a:gd name="connsiteX22" fmla="*/ 1145762 w 2291715"/>
                <a:gd name="connsiteY22" fmla="*/ 1491901 h 2291524"/>
                <a:gd name="connsiteX23" fmla="*/ 799624 w 2291715"/>
                <a:gd name="connsiteY23" fmla="*/ 1145762 h 2291524"/>
                <a:gd name="connsiteX24" fmla="*/ 872585 w 2291715"/>
                <a:gd name="connsiteY24" fmla="*/ 935450 h 2291524"/>
                <a:gd name="connsiteX25" fmla="*/ 921925 w 2291715"/>
                <a:gd name="connsiteY25" fmla="*/ 948785 h 2291524"/>
                <a:gd name="connsiteX26" fmla="*/ 1023366 w 2291715"/>
                <a:gd name="connsiteY26" fmla="*/ 847344 h 2291524"/>
                <a:gd name="connsiteX27" fmla="*/ 1020413 w 2291715"/>
                <a:gd name="connsiteY27" fmla="*/ 824008 h 2291524"/>
                <a:gd name="connsiteX28" fmla="*/ 1370838 w 2291715"/>
                <a:gd name="connsiteY28" fmla="*/ 882777 h 2291524"/>
                <a:gd name="connsiteX29" fmla="*/ 1195578 w 2291715"/>
                <a:gd name="connsiteY29" fmla="*/ 1057942 h 2291524"/>
                <a:gd name="connsiteX30" fmla="*/ 1145667 w 2291715"/>
                <a:gd name="connsiteY30" fmla="*/ 1044321 h 2291524"/>
                <a:gd name="connsiteX31" fmla="*/ 1044226 w 2291715"/>
                <a:gd name="connsiteY31" fmla="*/ 1145762 h 2291524"/>
                <a:gd name="connsiteX32" fmla="*/ 1145667 w 2291715"/>
                <a:gd name="connsiteY32" fmla="*/ 1247204 h 2291524"/>
                <a:gd name="connsiteX33" fmla="*/ 1247108 w 2291715"/>
                <a:gd name="connsiteY33" fmla="*/ 1145762 h 2291524"/>
                <a:gd name="connsiteX34" fmla="*/ 1233488 w 2291715"/>
                <a:gd name="connsiteY34" fmla="*/ 1095947 h 2291524"/>
                <a:gd name="connsiteX35" fmla="*/ 2059972 w 2291715"/>
                <a:gd name="connsiteY35" fmla="*/ 269653 h 2291524"/>
                <a:gd name="connsiteX36" fmla="*/ 2021967 w 2291715"/>
                <a:gd name="connsiteY36" fmla="*/ 231743 h 2291524"/>
                <a:gd name="connsiteX37" fmla="*/ 1936909 w 2291715"/>
                <a:gd name="connsiteY37" fmla="*/ 316897 h 2291524"/>
                <a:gd name="connsiteX38" fmla="*/ 1145858 w 2291715"/>
                <a:gd name="connsiteY38" fmla="*/ 0 h 2291524"/>
                <a:gd name="connsiteX39" fmla="*/ 0 w 2291715"/>
                <a:gd name="connsiteY39" fmla="*/ 1145762 h 2291524"/>
                <a:gd name="connsiteX40" fmla="*/ 1145858 w 2291715"/>
                <a:gd name="connsiteY40" fmla="*/ 2291525 h 2291524"/>
                <a:gd name="connsiteX41" fmla="*/ 2291715 w 2291715"/>
                <a:gd name="connsiteY41" fmla="*/ 1145762 h 2291524"/>
                <a:gd name="connsiteX42" fmla="*/ 2237994 w 2291715"/>
                <a:gd name="connsiteY42" fmla="*/ 1145762 h 2291524"/>
                <a:gd name="connsiteX43" fmla="*/ 922020 w 2291715"/>
                <a:gd name="connsiteY43" fmla="*/ 895160 h 2291524"/>
                <a:gd name="connsiteX44" fmla="*/ 874300 w 2291715"/>
                <a:gd name="connsiteY44" fmla="*/ 847439 h 2291524"/>
                <a:gd name="connsiteX45" fmla="*/ 922020 w 2291715"/>
                <a:gd name="connsiteY45" fmla="*/ 799719 h 2291524"/>
                <a:gd name="connsiteX46" fmla="*/ 969740 w 2291715"/>
                <a:gd name="connsiteY46" fmla="*/ 847439 h 2291524"/>
                <a:gd name="connsiteX47" fmla="*/ 922020 w 2291715"/>
                <a:gd name="connsiteY47" fmla="*/ 895160 h 2291524"/>
                <a:gd name="connsiteX48" fmla="*/ 1145858 w 2291715"/>
                <a:gd name="connsiteY48" fmla="*/ 1193578 h 2291524"/>
                <a:gd name="connsiteX49" fmla="*/ 1098137 w 2291715"/>
                <a:gd name="connsiteY49" fmla="*/ 1145858 h 2291524"/>
                <a:gd name="connsiteX50" fmla="*/ 1145858 w 2291715"/>
                <a:gd name="connsiteY50" fmla="*/ 1098137 h 2291524"/>
                <a:gd name="connsiteX51" fmla="*/ 1193578 w 2291715"/>
                <a:gd name="connsiteY51" fmla="*/ 1145858 h 2291524"/>
                <a:gd name="connsiteX52" fmla="*/ 1145858 w 2291715"/>
                <a:gd name="connsiteY52" fmla="*/ 1193578 h 229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291715" h="2291524">
                  <a:moveTo>
                    <a:pt x="2237899" y="1145762"/>
                  </a:moveTo>
                  <a:cubicBezTo>
                    <a:pt x="2237899" y="1747933"/>
                    <a:pt x="1748028" y="2237899"/>
                    <a:pt x="1145858" y="2237899"/>
                  </a:cubicBezTo>
                  <a:cubicBezTo>
                    <a:pt x="543687" y="2237899"/>
                    <a:pt x="53721" y="1748028"/>
                    <a:pt x="53721" y="1145762"/>
                  </a:cubicBezTo>
                  <a:cubicBezTo>
                    <a:pt x="53721" y="543497"/>
                    <a:pt x="543687" y="53721"/>
                    <a:pt x="1145858" y="53721"/>
                  </a:cubicBezTo>
                  <a:cubicBezTo>
                    <a:pt x="1428560" y="53721"/>
                    <a:pt x="1694974" y="160401"/>
                    <a:pt x="1898904" y="354806"/>
                  </a:cubicBezTo>
                  <a:lnTo>
                    <a:pt x="1673066" y="580644"/>
                  </a:lnTo>
                  <a:cubicBezTo>
                    <a:pt x="1529525" y="446532"/>
                    <a:pt x="1343311" y="372999"/>
                    <a:pt x="1145858" y="372999"/>
                  </a:cubicBezTo>
                  <a:cubicBezTo>
                    <a:pt x="719709" y="372999"/>
                    <a:pt x="372999" y="719709"/>
                    <a:pt x="372999" y="1145858"/>
                  </a:cubicBezTo>
                  <a:cubicBezTo>
                    <a:pt x="372999" y="1198150"/>
                    <a:pt x="378333" y="1250537"/>
                    <a:pt x="388715" y="1301496"/>
                  </a:cubicBezTo>
                  <a:lnTo>
                    <a:pt x="441293" y="1290828"/>
                  </a:lnTo>
                  <a:cubicBezTo>
                    <a:pt x="431578" y="1243298"/>
                    <a:pt x="426720" y="1194530"/>
                    <a:pt x="426720" y="1145858"/>
                  </a:cubicBezTo>
                  <a:cubicBezTo>
                    <a:pt x="426720" y="749332"/>
                    <a:pt x="749332" y="426720"/>
                    <a:pt x="1145762" y="426720"/>
                  </a:cubicBezTo>
                  <a:cubicBezTo>
                    <a:pt x="1328928" y="426720"/>
                    <a:pt x="1501616" y="494729"/>
                    <a:pt x="1634966" y="618744"/>
                  </a:cubicBezTo>
                  <a:lnTo>
                    <a:pt x="1408938" y="844772"/>
                  </a:lnTo>
                  <a:cubicBezTo>
                    <a:pt x="1296734" y="746474"/>
                    <a:pt x="1132332" y="720757"/>
                    <a:pt x="994601" y="776764"/>
                  </a:cubicBezTo>
                  <a:cubicBezTo>
                    <a:pt x="976122" y="757809"/>
                    <a:pt x="950500" y="745998"/>
                    <a:pt x="922020" y="745998"/>
                  </a:cubicBezTo>
                  <a:cubicBezTo>
                    <a:pt x="866108" y="745998"/>
                    <a:pt x="820579" y="791528"/>
                    <a:pt x="820579" y="847439"/>
                  </a:cubicBezTo>
                  <a:cubicBezTo>
                    <a:pt x="820579" y="865727"/>
                    <a:pt x="825818" y="882682"/>
                    <a:pt x="834295" y="897446"/>
                  </a:cubicBezTo>
                  <a:cubicBezTo>
                    <a:pt x="777907" y="968121"/>
                    <a:pt x="745903" y="1054989"/>
                    <a:pt x="745903" y="1145762"/>
                  </a:cubicBezTo>
                  <a:cubicBezTo>
                    <a:pt x="745903" y="1366266"/>
                    <a:pt x="925354" y="1545622"/>
                    <a:pt x="1145762" y="1545622"/>
                  </a:cubicBezTo>
                  <a:cubicBezTo>
                    <a:pt x="1366171" y="1545622"/>
                    <a:pt x="1545622" y="1366266"/>
                    <a:pt x="1545622" y="1145762"/>
                  </a:cubicBezTo>
                  <a:lnTo>
                    <a:pt x="1491901" y="1145762"/>
                  </a:lnTo>
                  <a:cubicBezTo>
                    <a:pt x="1491901" y="1336643"/>
                    <a:pt x="1336643" y="1491901"/>
                    <a:pt x="1145762" y="1491901"/>
                  </a:cubicBezTo>
                  <a:cubicBezTo>
                    <a:pt x="954881" y="1491901"/>
                    <a:pt x="799624" y="1336643"/>
                    <a:pt x="799624" y="1145762"/>
                  </a:cubicBezTo>
                  <a:cubicBezTo>
                    <a:pt x="799624" y="1069086"/>
                    <a:pt x="826103" y="995839"/>
                    <a:pt x="872585" y="935450"/>
                  </a:cubicBezTo>
                  <a:cubicBezTo>
                    <a:pt x="887254" y="943737"/>
                    <a:pt x="903923" y="948785"/>
                    <a:pt x="921925" y="948785"/>
                  </a:cubicBezTo>
                  <a:cubicBezTo>
                    <a:pt x="977837" y="948785"/>
                    <a:pt x="1023366" y="903256"/>
                    <a:pt x="1023366" y="847344"/>
                  </a:cubicBezTo>
                  <a:cubicBezTo>
                    <a:pt x="1023366" y="839248"/>
                    <a:pt x="1022223" y="831533"/>
                    <a:pt x="1020413" y="824008"/>
                  </a:cubicBezTo>
                  <a:cubicBezTo>
                    <a:pt x="1137190" y="778859"/>
                    <a:pt x="1275302" y="800767"/>
                    <a:pt x="1370838" y="882777"/>
                  </a:cubicBezTo>
                  <a:lnTo>
                    <a:pt x="1195578" y="1057942"/>
                  </a:lnTo>
                  <a:cubicBezTo>
                    <a:pt x="1180814" y="1049465"/>
                    <a:pt x="1163860" y="1044321"/>
                    <a:pt x="1145667" y="1044321"/>
                  </a:cubicBezTo>
                  <a:cubicBezTo>
                    <a:pt x="1089755" y="1044321"/>
                    <a:pt x="1044226" y="1089851"/>
                    <a:pt x="1044226" y="1145762"/>
                  </a:cubicBezTo>
                  <a:cubicBezTo>
                    <a:pt x="1044226" y="1201674"/>
                    <a:pt x="1089755" y="1247204"/>
                    <a:pt x="1145667" y="1247204"/>
                  </a:cubicBezTo>
                  <a:cubicBezTo>
                    <a:pt x="1201579" y="1247204"/>
                    <a:pt x="1247108" y="1201674"/>
                    <a:pt x="1247108" y="1145762"/>
                  </a:cubicBezTo>
                  <a:cubicBezTo>
                    <a:pt x="1247108" y="1127570"/>
                    <a:pt x="1241965" y="1110710"/>
                    <a:pt x="1233488" y="1095947"/>
                  </a:cubicBezTo>
                  <a:lnTo>
                    <a:pt x="2059972" y="269653"/>
                  </a:lnTo>
                  <a:lnTo>
                    <a:pt x="2021967" y="231743"/>
                  </a:lnTo>
                  <a:lnTo>
                    <a:pt x="1936909" y="316897"/>
                  </a:lnTo>
                  <a:cubicBezTo>
                    <a:pt x="1722787" y="112300"/>
                    <a:pt x="1442942" y="0"/>
                    <a:pt x="1145858" y="0"/>
                  </a:cubicBezTo>
                  <a:cubicBezTo>
                    <a:pt x="514064" y="0"/>
                    <a:pt x="0" y="513969"/>
                    <a:pt x="0" y="1145762"/>
                  </a:cubicBezTo>
                  <a:cubicBezTo>
                    <a:pt x="0" y="1777556"/>
                    <a:pt x="514064" y="2291525"/>
                    <a:pt x="1145858" y="2291525"/>
                  </a:cubicBezTo>
                  <a:cubicBezTo>
                    <a:pt x="1777651" y="2291525"/>
                    <a:pt x="2291715" y="1777556"/>
                    <a:pt x="2291715" y="1145762"/>
                  </a:cubicBezTo>
                  <a:lnTo>
                    <a:pt x="2237994" y="1145762"/>
                  </a:lnTo>
                  <a:close/>
                  <a:moveTo>
                    <a:pt x="922020" y="895160"/>
                  </a:moveTo>
                  <a:cubicBezTo>
                    <a:pt x="895731" y="895160"/>
                    <a:pt x="874300" y="873728"/>
                    <a:pt x="874300" y="847439"/>
                  </a:cubicBezTo>
                  <a:cubicBezTo>
                    <a:pt x="874300" y="821150"/>
                    <a:pt x="895731" y="799719"/>
                    <a:pt x="922020" y="799719"/>
                  </a:cubicBezTo>
                  <a:cubicBezTo>
                    <a:pt x="948309" y="799719"/>
                    <a:pt x="969740" y="821150"/>
                    <a:pt x="969740" y="847439"/>
                  </a:cubicBezTo>
                  <a:cubicBezTo>
                    <a:pt x="969740" y="873728"/>
                    <a:pt x="948309" y="895160"/>
                    <a:pt x="922020" y="895160"/>
                  </a:cubicBezTo>
                  <a:close/>
                  <a:moveTo>
                    <a:pt x="1145858" y="1193578"/>
                  </a:moveTo>
                  <a:cubicBezTo>
                    <a:pt x="1119569" y="1193578"/>
                    <a:pt x="1098137" y="1172147"/>
                    <a:pt x="1098137" y="1145858"/>
                  </a:cubicBezTo>
                  <a:cubicBezTo>
                    <a:pt x="1098137" y="1119569"/>
                    <a:pt x="1119569" y="1098137"/>
                    <a:pt x="1145858" y="1098137"/>
                  </a:cubicBezTo>
                  <a:cubicBezTo>
                    <a:pt x="1172147" y="1098137"/>
                    <a:pt x="1193578" y="1119569"/>
                    <a:pt x="1193578" y="1145858"/>
                  </a:cubicBezTo>
                  <a:cubicBezTo>
                    <a:pt x="1193578" y="1172147"/>
                    <a:pt x="1172147" y="1193578"/>
                    <a:pt x="1145858" y="119357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6BB473-166A-42B3-8194-00FCC7D6B498}"/>
                </a:ext>
              </a:extLst>
            </p:cNvPr>
            <p:cNvSpPr/>
            <p:nvPr userDrawn="1"/>
          </p:nvSpPr>
          <p:spPr>
            <a:xfrm>
              <a:off x="19225414" y="2395931"/>
              <a:ext cx="1553268" cy="710226"/>
            </a:xfrm>
            <a:custGeom>
              <a:avLst/>
              <a:gdLst>
                <a:gd name="connsiteX0" fmla="*/ 618268 w 1375695"/>
                <a:gd name="connsiteY0" fmla="*/ 628936 h 629031"/>
                <a:gd name="connsiteX1" fmla="*/ 1375696 w 1375695"/>
                <a:gd name="connsiteY1" fmla="*/ 10668 h 629031"/>
                <a:gd name="connsiteX2" fmla="*/ 1323118 w 1375695"/>
                <a:gd name="connsiteY2" fmla="*/ 0 h 629031"/>
                <a:gd name="connsiteX3" fmla="*/ 618268 w 1375695"/>
                <a:gd name="connsiteY3" fmla="*/ 575310 h 629031"/>
                <a:gd name="connsiteX4" fmla="*/ 42958 w 1375695"/>
                <a:gd name="connsiteY4" fmla="*/ 287655 h 629031"/>
                <a:gd name="connsiteX5" fmla="*/ 0 w 1375695"/>
                <a:gd name="connsiteY5" fmla="*/ 319945 h 629031"/>
                <a:gd name="connsiteX6" fmla="*/ 618268 w 1375695"/>
                <a:gd name="connsiteY6" fmla="*/ 629031 h 62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5695" h="629031">
                  <a:moveTo>
                    <a:pt x="618268" y="628936"/>
                  </a:moveTo>
                  <a:cubicBezTo>
                    <a:pt x="984409" y="628936"/>
                    <a:pt x="1302925" y="368903"/>
                    <a:pt x="1375696" y="10668"/>
                  </a:cubicBezTo>
                  <a:lnTo>
                    <a:pt x="1323118" y="0"/>
                  </a:lnTo>
                  <a:cubicBezTo>
                    <a:pt x="1255395" y="333375"/>
                    <a:pt x="958977" y="575310"/>
                    <a:pt x="618268" y="575310"/>
                  </a:cubicBezTo>
                  <a:cubicBezTo>
                    <a:pt x="389954" y="575310"/>
                    <a:pt x="180213" y="470440"/>
                    <a:pt x="42958" y="287655"/>
                  </a:cubicBezTo>
                  <a:lnTo>
                    <a:pt x="0" y="319945"/>
                  </a:lnTo>
                  <a:cubicBezTo>
                    <a:pt x="147542" y="516350"/>
                    <a:pt x="372904" y="629031"/>
                    <a:pt x="618268" y="62903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08B538A9-9697-FB61-BACA-1B2A24BE21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444864" y="3527195"/>
              <a:ext cx="2587527" cy="2587527"/>
            </a:xfrm>
            <a:prstGeom prst="rect">
              <a:avLst/>
            </a:prstGeom>
          </p:spPr>
        </p:pic>
      </p:grp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FA6A4E4-9CC1-7010-E902-B213741D09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4758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999" y="192024"/>
            <a:ext cx="2477765" cy="1429544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3199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1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8522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90474" y="6402388"/>
            <a:ext cx="2477765" cy="190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0919" y="284957"/>
            <a:ext cx="2476178" cy="5715794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37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275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12" indent="-73137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9264" y="6469419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430388"/>
      </p:ext>
    </p:extLst>
  </p:cSld>
  <p:clrMapOvr>
    <a:masterClrMapping/>
  </p:clrMapOvr>
  <p:transition spd="med"/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76" y="191938"/>
            <a:ext cx="5533225" cy="646263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20" y="1714501"/>
            <a:ext cx="548568" cy="4283868"/>
          </a:xfrm>
        </p:spPr>
        <p:txBody>
          <a:bodyPr/>
          <a:lstStyle>
            <a:lvl1pPr defTabSz="580629">
              <a:spcBef>
                <a:spcPts val="0"/>
              </a:spcBef>
              <a:spcAft>
                <a:spcPts val="900"/>
              </a:spcAft>
              <a:defRPr sz="3200"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9EEE1D6-6B7E-76B8-7CD3-AF36ED0688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6143" y="1714501"/>
            <a:ext cx="4774589" cy="4283868"/>
          </a:xfrm>
        </p:spPr>
        <p:txBody>
          <a:bodyPr/>
          <a:lstStyle>
            <a:lvl1pPr defTabSz="580629">
              <a:spcBef>
                <a:spcPts val="0"/>
              </a:spcBef>
              <a:spcAft>
                <a:spcPts val="900"/>
              </a:spcAft>
              <a:defRPr sz="3200">
                <a:solidFill>
                  <a:schemeClr val="tx1"/>
                </a:solidFill>
              </a:defRPr>
            </a:lvl1pPr>
            <a:lvl2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62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43B4043-0F2A-71C6-31DB-7C981D1C19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579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5546867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4EB72A9C-9B01-E367-54B6-234C54421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921" y="1714500"/>
            <a:ext cx="5533776" cy="428386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DECF69D-F8A2-BA29-C92F-56CF66F1D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4126" y="1714500"/>
            <a:ext cx="5531953" cy="428386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04A6F85-6D8A-FD77-39BD-252A2FB61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1033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7" y="160295"/>
            <a:ext cx="8569796" cy="4095751"/>
          </a:xfrm>
        </p:spPr>
        <p:txBody>
          <a:bodyPr/>
          <a:lstStyle>
            <a:lvl1pPr>
              <a:defRPr sz="86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15E15240-CB4B-3EBC-59A0-A3009A5392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649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010" y="2570958"/>
            <a:ext cx="5520317" cy="3427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1pPr>
            <a:lvl2pPr marL="292601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2pPr>
            <a:lvl3pPr marL="548626" indent="-292601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3pPr>
            <a:lvl4pPr marL="877802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175240-12A7-12D7-DC4F-B715F7430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5C9BB08-694B-5D15-5524-4AF48C832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1550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51" y="166645"/>
            <a:ext cx="7330120" cy="4858544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BAD5B3F4-41FA-5B40-DA62-5B54E0897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2240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5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9C054CF-9453-850A-6B65-8421B46079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47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429901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FFF437B-D167-4852-CD55-FDFC9AB2E9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6731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5" cy="1285171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93683E6-4962-57E0-9658-36D986D693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9807" y="1999457"/>
            <a:ext cx="4946005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22783DF-B709-0768-BAFA-FEDE312037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7775" y="1999457"/>
            <a:ext cx="4942039" cy="372316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A62BE5F-1F51-450E-D8FE-040CFAFD9A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881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627" y="1226287"/>
            <a:ext cx="9145984" cy="3088539"/>
          </a:xfrm>
        </p:spPr>
        <p:txBody>
          <a:bodyPr wrap="square" anchor="b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2299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06" y="4237793"/>
            <a:ext cx="9143207" cy="1354217"/>
          </a:xfrm>
        </p:spPr>
        <p:txBody>
          <a:bodyPr wrap="square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759DCE3-F7D4-4DD5-12DC-26287105A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5998369"/>
            <a:ext cx="2475384" cy="594248"/>
          </a:xfrm>
        </p:spPr>
        <p:txBody>
          <a:bodyPr anchor="b">
            <a:noAutofit/>
          </a:bodyPr>
          <a:lstStyle>
            <a:lvl1pPr algn="l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F32310DD-37C8-4053-C9FB-4595BDA354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4161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, 1 callout,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015" y="288924"/>
            <a:ext cx="8687464" cy="3088539"/>
          </a:xfrm>
        </p:spPr>
        <p:txBody>
          <a:bodyPr wrap="square" anchor="t">
            <a:spAutoFit/>
          </a:bodyPr>
          <a:lstStyle>
            <a:lvl1pPr marL="0" marR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2299" b="0" i="0" u="none" strike="noStrike" cap="none" spc="0" baseline="0" dirty="0">
                <a:solidFill>
                  <a:schemeClr val="accent1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</a:lstStyle>
          <a:p>
            <a:r>
              <a:rPr lang="uk-UA" dirty="0"/>
              <a:t>+</a:t>
            </a:r>
            <a:r>
              <a:rPr lang="en-US" dirty="0"/>
              <a:t>00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831" y="3470610"/>
            <a:ext cx="5514869" cy="135421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94B6EDC-B303-90FD-527D-B63F2FB20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3831" y="571261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5850FE5-BCBA-DE93-BED8-F673B3DE7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0364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4" y="3084230"/>
            <a:ext cx="1727991" cy="68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624723"/>
      </p:ext>
    </p:extLst>
  </p:cSld>
  <p:clrMapOvr>
    <a:masterClrMapping/>
  </p:clrMapOvr>
  <p:transition spd="med"/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329" y="4649724"/>
            <a:ext cx="5524575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3248" y="4648200"/>
            <a:ext cx="5523781" cy="1771651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129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0919" y="231670"/>
            <a:ext cx="3809504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231670"/>
            <a:ext cx="3811091" cy="314404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6096000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174D841-F2E5-EFB2-5B7C-4BF603920F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7641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30" y="196039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148539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147746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D9A9B55-BFC0-A207-C833-97029A85A6B1}"/>
              </a:ext>
            </a:extLst>
          </p:cNvPr>
          <p:cNvCxnSpPr/>
          <p:nvPr userDrawn="1"/>
        </p:nvCxnSpPr>
        <p:spPr bwMode="auto">
          <a:xfrm>
            <a:off x="304760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876AAE83-5BC1-2B8F-9D74-FFCF44A99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5337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507" y="194451"/>
            <a:ext cx="2474591" cy="953295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7730" y="196039"/>
            <a:ext cx="2474591" cy="951707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6095"/>
            <a:ext cx="2475384" cy="953956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315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46300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19451" indent="-73150"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3316" y="1147745"/>
            <a:ext cx="2475384" cy="483652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20" y="1148539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4" y="1147746"/>
            <a:ext cx="2476177" cy="483342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F9F2DE-A139-192A-5995-E5A8DC450FDE}"/>
              </a:ext>
            </a:extLst>
          </p:cNvPr>
          <p:cNvCxnSpPr/>
          <p:nvPr userDrawn="1"/>
        </p:nvCxnSpPr>
        <p:spPr bwMode="auto">
          <a:xfrm>
            <a:off x="6093683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7208B3-738C-B63B-1AF3-D8CE9D85B8A6}"/>
              </a:ext>
            </a:extLst>
          </p:cNvPr>
          <p:cNvCxnSpPr/>
          <p:nvPr userDrawn="1"/>
        </p:nvCxnSpPr>
        <p:spPr bwMode="auto">
          <a:xfrm>
            <a:off x="9151036" y="283465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D17A823-2B35-9F67-4977-560B8AF64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1261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53" y="163677"/>
            <a:ext cx="2474591" cy="2667795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02006" y="163678"/>
            <a:ext cx="8602695" cy="26677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253" y="3301131"/>
            <a:ext cx="2474591" cy="2667000"/>
          </a:xfrm>
        </p:spPr>
        <p:txBody>
          <a:bodyPr/>
          <a:lstStyle>
            <a:lvl1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43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02006" y="3301131"/>
            <a:ext cx="8602695" cy="2667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1pPr>
            <a:lvl2pPr marL="393182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2pPr>
            <a:lvl3pPr marL="749789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3pPr>
            <a:lvl4pPr marL="1142971" indent="-393182"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3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CEC7706-69F2-D92D-BB0A-0E924C894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E53AD30-014A-7A4A-CB78-34E988BBC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6114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3333316" y="40957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3333316" y="2000251"/>
            <a:ext cx="857138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2523" y="193215"/>
            <a:ext cx="2475384" cy="1429544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31669"/>
            <a:ext cx="2474591" cy="1429544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316" y="6021389"/>
            <a:ext cx="2475384" cy="5715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8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231669"/>
            <a:ext cx="3809504" cy="1429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0919" y="2134383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19" y="4229883"/>
            <a:ext cx="3809504" cy="14287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2523" y="2081450"/>
            <a:ext cx="2475384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2525" y="4189142"/>
            <a:ext cx="2475383" cy="1428753"/>
          </a:xfrm>
        </p:spPr>
        <p:txBody>
          <a:bodyPr/>
          <a:lstStyle>
            <a:lvl1pPr>
              <a:lnSpc>
                <a:spcPct val="9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38711FA-13D6-9104-7A8A-D8FB49141F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1400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0"/>
            <a:ext cx="5049180" cy="337263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2571750"/>
            <a:ext cx="5047593" cy="337263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5EC4A52-7835-D22D-8B95-DC00FB768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5" cy="1285171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868EE6-6B0C-277D-E71F-ED7D51D306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3575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s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429001"/>
            <a:ext cx="5049180" cy="25693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20" y="3429001"/>
            <a:ext cx="5047593" cy="25693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79CF79E9-58BB-513E-43E9-E0BEE12B458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4780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22459F1-A8D7-D6F0-9077-040A2C233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7345035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FA3EE5FA-E03D-2868-F43C-AED3641C30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4780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A670BDF-CD12-E7E2-0D14-69CE028ED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4575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1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2571751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2571751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79092D4-BF8A-268D-DBA5-27434837ECD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571751"/>
            <a:ext cx="0" cy="256161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8" y="2573081"/>
            <a:ext cx="0" cy="257041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458299-F48C-A427-FFF4-B96192C603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721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11484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3391047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3391047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3D239E8C-BDAD-3BA7-69BA-6E9D9922A76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52358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F2607C-C2D8-FFBC-278F-61D7DB61175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416718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646E100-F22C-3F1E-673A-CE8E02105E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87999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8176892-FFF9-AD2F-96B8-DCCD56B20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8698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11484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824720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2359" y="2824720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6719" y="2824720"/>
            <a:ext cx="3487981" cy="257174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0490D2-C450-EA05-A628-8CDD83FB950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4169" y="2824719"/>
            <a:ext cx="0" cy="316277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D95C4A-640F-44BD-E7DB-7952B40B47E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128528" y="2824719"/>
            <a:ext cx="0" cy="31736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6080BDB-2578-19DC-62DC-21A64E466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2395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610134"/>
      </p:ext>
    </p:extLst>
  </p:cSld>
  <p:clrMapOvr>
    <a:masterClrMapping/>
  </p:clrMapOvr>
  <p:transition spd="med"/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middl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54298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01379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48459" y="2571750"/>
            <a:ext cx="2474591" cy="25717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C66A411-C374-F3F3-B9CB-8D8D477D2E17}"/>
              </a:ext>
            </a:extLst>
          </p:cNvPr>
          <p:cNvGrpSpPr/>
          <p:nvPr userDrawn="1"/>
        </p:nvGrpSpPr>
        <p:grpSpPr>
          <a:xfrm>
            <a:off x="6093683" y="288926"/>
            <a:ext cx="3049127" cy="5709444"/>
            <a:chOff x="12188952" y="592079"/>
            <a:chExt cx="6099048" cy="514349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594739"/>
              <a:ext cx="0" cy="5140838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592079"/>
              <a:ext cx="0" cy="5121374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D0F0F89-7318-2CE8-B2F0-DDA405BDB2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1618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488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6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8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7AA5A9F-1FF4-B8F4-1347-735214DFF06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55187" y="291877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DE1C342-B84B-FDDF-9C31-E2203F3C7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549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3 colum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2" y="198287"/>
            <a:ext cx="2493637" cy="32307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19ED4A-BFBA-E53C-2BB8-09CE78A79FE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64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00224B-2BF1-5B5D-5780-D5DB90A1203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488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75A15DB-1EFF-520D-BB52-429C515C539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424556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FA218C9-742E-511E-BA94-C411B5869722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FA8738A-CEF0-79AA-B419-B7680A6CC615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6389428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42E71B1-B5F7-9235-D02B-4E7306F89829}"/>
              </a:ext>
            </a:extLst>
          </p:cNvPr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6389426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B7FE31C-8FA8-1E02-8414-47C66592F2A1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3354298" y="1239013"/>
            <a:ext cx="2476177" cy="3047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798A212-9B60-58A9-FAAF-19FACBA14613}"/>
              </a:ext>
            </a:extLst>
          </p:cNvPr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3354298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08C075F-C93C-07FC-A0F1-23C5342F3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802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889" y="2675701"/>
            <a:ext cx="3334903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1809" y="2674938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887" y="5147889"/>
            <a:ext cx="3334904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1809" y="5146366"/>
            <a:ext cx="3333316" cy="7540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887" y="17247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1808" y="172472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887" y="419234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1808" y="419386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1714500"/>
            <a:ext cx="0" cy="428625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857625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2EBAB1D-E41A-FCE6-D13F-87955CDFE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7"/>
            <a:ext cx="11620573" cy="129054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7895912-82BE-A180-A2EE-6DED0F5F5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71202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,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1239012"/>
            <a:ext cx="3334903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919" y="1238251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4392940"/>
            <a:ext cx="3334904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391416"/>
            <a:ext cx="3333316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9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80919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43739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0919" y="343891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84126" y="3048000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9D960E5-FC34-1896-E12A-39C4324B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664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47379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/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6BF4ADBE-C76F-07CC-C4CC-D239D2827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CD69A79-BC15-190C-75BA-2D47B6CE6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573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47379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2BAB8C9-7E2A-46DD-2399-A214C4EDF57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2FD89A00-A4D6-01CC-82BF-001A1713F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D0D49E6-7CA5-18FC-9FD9-9EDA2C4F4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7839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732210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47379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79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FDB2FE0-AFF0-BFA9-D6AF-6EE97A0FE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599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 section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01" y="732210"/>
            <a:ext cx="5521400" cy="1138428"/>
          </a:xfrm>
        </p:spPr>
        <p:txBody>
          <a:bodyPr rIns="457200"/>
          <a:lstStyle>
            <a:lvl1pPr>
              <a:lnSpc>
                <a:spcPct val="11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920" y="247379"/>
            <a:ext cx="2476177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7379"/>
            <a:ext cx="2479352" cy="2572544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920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28524" y="3390118"/>
            <a:ext cx="2476177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7999" y="247379"/>
            <a:ext cx="2477765" cy="224028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D5B5BDD-5197-7883-EE7F-D7F36FB380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5804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5207" y="3142853"/>
            <a:ext cx="581025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8A5CD-9BFE-EA53-DBA6-5B741078FEF4}"/>
              </a:ext>
            </a:extLst>
          </p:cNvPr>
          <p:cNvCxnSpPr/>
          <p:nvPr userDrawn="1"/>
        </p:nvCxnSpPr>
        <p:spPr bwMode="auto">
          <a:xfrm>
            <a:off x="6095207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71339B-1289-A98F-A8E9-18E75F20CC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8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9381E76D-106C-BA22-3DB6-BDB470E423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0537F81-8B08-E380-9886-248A3F5A38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6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7F24CA7C-9A8A-3826-A6D8-832F13B51C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4EA17C1-7C6A-EADF-3AE7-5FB11928A9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8" y="4343931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60A6016D-5972-8DF4-5161-9603737C24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02BE911-8CA1-63D9-87E1-79F338003B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6" y="4343931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CD010D72-78B3-A919-7182-D247E192AE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F912CB5-9AEA-5E2A-695E-22242ABFD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0EFC0-23D9-0677-68B9-049DAD024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274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3" tIns="45703" rIns="45703" bIns="45703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6044185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7" y="6042370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66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33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899" indent="-127966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846578"/>
      </p:ext>
    </p:extLst>
  </p:cSld>
  <p:clrMapOvr>
    <a:masterClrMapping/>
  </p:clrMapOvr>
  <p:transition spd="med"/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2x2 sid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6E129-D3CF-923E-5F2F-95A1E63497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42853"/>
            <a:ext cx="552454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187E1D-CADD-954F-F4C0-5C4235ED144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4958"/>
            <a:ext cx="0" cy="571579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911862E-A2C3-ECD7-75E8-8FEE3975B7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8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68FBA42A-6CC5-2CB9-C4CD-8740B49D27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FBA3EB2-38CB-AEA9-4C56-94D1BED179E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6" y="1239012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AE91AB7D-3FEE-8981-240A-6212AAB5EC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7DB3F66-3532-DCE9-CCEA-0147232859A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8" y="4343931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8136C62A-4C1D-2114-2E09-44619F4D66C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BDADD72-EBAA-EA47-0009-F65A6B65327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6" y="4343931"/>
            <a:ext cx="2476177" cy="152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B1A2F75F-9FE1-576E-054E-377235CA92F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F411D71-CE56-FDDB-5D7A-0B4FCB60E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7"/>
            <a:ext cx="5524575" cy="237346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F4021BC-B93D-E7C5-8CD9-867115C763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7430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44007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AD2A69D-35AD-8E1B-0055-B0347A82F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9011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530359"/>
            <a:ext cx="2474591" cy="246801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57938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57938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57938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579383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2"/>
            <a:ext cx="6095207" cy="3423089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11AF24D8-8C1C-AC4D-FDF1-A8E4A6089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3080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775697"/>
            <a:ext cx="2474591" cy="222267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775697"/>
            <a:ext cx="2474591" cy="222267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775697"/>
            <a:ext cx="2474591" cy="222267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775697"/>
            <a:ext cx="2474591" cy="2222673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229F0A3E-56B4-C089-C20B-6B33FC69B85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D9CE9053-2DD6-966F-8843-B50FBF7C7C9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29DB6E44-F962-A27A-53E2-9736F1F7CE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83048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7F43B7C7-FC2D-A79E-9E4C-CAB7C1D5F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28523" y="2824721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824720"/>
            <a:ext cx="6095207" cy="3170120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67972C7-64C8-D5D5-2649-7E5F519CF3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592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lumns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2571751"/>
            <a:ext cx="247459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2571751"/>
            <a:ext cx="247459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2571751"/>
            <a:ext cx="247459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2571751"/>
            <a:ext cx="2474591" cy="2571749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1970BBD-DC96-8629-8547-C91E8BAA362A}"/>
              </a:ext>
            </a:extLst>
          </p:cNvPr>
          <p:cNvGrpSpPr/>
          <p:nvPr userDrawn="1"/>
        </p:nvGrpSpPr>
        <p:grpSpPr>
          <a:xfrm>
            <a:off x="3047603" y="2571751"/>
            <a:ext cx="6095207" cy="2571749"/>
            <a:chOff x="6096000" y="6858000"/>
            <a:chExt cx="12192000" cy="5131680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879092D4-BF8A-268D-DBA5-27434837ECD3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6096000" y="6858000"/>
              <a:ext cx="0" cy="5111452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319ED4A-BFBA-E53C-2BB8-09CE78A79FE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2188952" y="6860654"/>
              <a:ext cx="0" cy="5129026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200224B-2BF1-5B5D-5780-D5DB90A12032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18288000" y="6858000"/>
              <a:ext cx="0" cy="5109607"/>
            </a:xfrm>
            <a:prstGeom prst="line">
              <a:avLst/>
            </a:prstGeom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D56867-D9F9-62A0-FDB4-E4779C462D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2037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7"/>
            <a:ext cx="0" cy="284024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144832"/>
            <a:ext cx="0" cy="285000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3143359"/>
            <a:ext cx="0" cy="283921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6C01522-DE85-D621-1A24-68D327BD5D3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AE5020-4074-8876-8683-891205A358C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6350AB9-B76B-2829-7B40-4FD74E8B6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2158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BB7AEC-E4D4-3125-05AE-2B8DBAAEA6D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3429001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B74D7F9F-BB15-3385-5E6C-4CE8DD6A0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FA762C-F9AF-4EF8-280A-565699475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4733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1534D0-6558-92B1-BE44-D49078890F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50" y="24510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1"/>
            <a:ext cx="2474591" cy="267245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54FD6A5-B609-A859-DE01-D0AB39948E1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7"/>
            <a:ext cx="0" cy="283986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58F0260-951E-161B-8456-A4302710F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6249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999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3050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391047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222ABE6-8E24-BB5A-724A-A3BF328EA6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3050" y="245101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9562605-98F6-4E5B-023A-C45650DB4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28523" y="245101"/>
            <a:ext cx="2474591" cy="2607323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8FBD17-65B3-D61E-4BFF-911D4D8DED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3429001"/>
            <a:ext cx="0" cy="255480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62A38210-751E-ABDD-BE11-802CF10EB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665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CA50B6-671E-953F-D715-5F31CF9D8E8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84126" y="3143359"/>
            <a:ext cx="116205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71A181-117D-E38D-D96B-5F09AE6C2D8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143357"/>
            <a:ext cx="0" cy="283986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D7569E8-33F0-2927-457E-FFB6E90A49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291877"/>
            <a:ext cx="0" cy="570296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8D2F3D-0843-CCA0-431C-15C29EDEB95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8CA66-514D-2E7F-1BD4-92DF3C0CAC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8" y="1239013"/>
            <a:ext cx="2476177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EA1519-7C3A-C0B5-EC85-1F164DCBB1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6" y="1239013"/>
            <a:ext cx="2476177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BE2A62D-EE41-8456-8F8E-593D0972F7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8" y="4343931"/>
            <a:ext cx="2476177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E91CAE2-40F2-60D7-69AC-2C6398FA41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6" y="4343931"/>
            <a:ext cx="2476177" cy="162637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1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C07212A-8B97-6593-5714-26AB990D75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C0BC29DE-57B9-0A75-BFEA-0C952625F4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233F6872-B424-BD61-A41F-831F1D82DA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4230AF7-3A67-D259-C8A5-048B4C99BCB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5E93364-38AF-969E-6B64-185F78D95C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5216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132852"/>
      </p:ext>
    </p:extLst>
  </p:cSld>
  <p:clrMapOvr>
    <a:masterClrMapping/>
  </p:clrMapOvr>
  <p:transition spd="med"/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, icons,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A48675-4C09-40F6-B2AC-B92E0A73761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0919" y="3129611"/>
            <a:ext cx="552378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C29595-FFB1-A770-4E44-FBA6B012463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142809" y="288926"/>
            <a:ext cx="0" cy="56813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5C433850-C77D-7722-6C93-E8FC8E47D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7E0954-094A-3A56-F3D8-8FCE37CDB6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7603" y="3429001"/>
            <a:ext cx="0" cy="255572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9A4873-4533-129F-BFE4-942DBAD403C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3683" y="3430328"/>
            <a:ext cx="0" cy="2564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E70D622C-89B3-2863-7C99-3085C9A592A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68127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FD1B8CC3-58FD-8DCD-BDD6-E62A5D5DBC2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424555" y="288037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7D430C99-4D84-A798-4D9F-8E20E26817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68127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E40EAA70-7D31-B59B-88DC-CBFA9E01AE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424555" y="339295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781215D9-34B4-1F5A-0399-298CBDF4B6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7999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1C79233-D105-4FF6-25BB-315818AE71C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334361" y="3393045"/>
            <a:ext cx="607997" cy="608076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D2A4AF67-AB66-94A8-89EE-8BF6C3098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92FCE89-12F9-7035-F272-8BB205D9FC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8128" y="1239013"/>
            <a:ext cx="2476177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C1F736C-7EB3-13DE-8823-F8841C6854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4556" y="1239013"/>
            <a:ext cx="2476177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166BF4A-D88E-D58D-4040-26C37F5FA3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8128" y="4343931"/>
            <a:ext cx="2476177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305D0A6-0FE2-CEAF-A8B7-47FFE11C02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4556" y="4343931"/>
            <a:ext cx="2476177" cy="162637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201163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402326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557770" indent="-201163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14A5EFB-64AB-5848-667E-F3D05D9C834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7999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CA52D6E-E63B-87DB-A7A3-1B72A54C7E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4362" y="4344021"/>
            <a:ext cx="2474591" cy="1626276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1422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righ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19" y="27501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53D1387-1AEB-51D7-32CA-2489D148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5800081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8C492E8-5CB5-C92B-6CD6-CCDEF8E48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2369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half, left side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84126" y="28336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4EF684-B51F-B632-828D-3BB519723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95" y="198288"/>
            <a:ext cx="5524575" cy="5800081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778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552378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173B9F7-2E22-2E34-07D9-72BDB8C0D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6903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allou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552378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2BEBD3A-FD57-328F-D077-9C1473E69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2641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1714500"/>
            <a:ext cx="5523781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47FBC7-360F-2702-981E-C16694B31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7468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3ECAFCBD-74B8-193E-870C-66ED84B49C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1714500"/>
            <a:ext cx="2474591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CB70A75-1208-361D-E0D0-FE0258712A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1714500"/>
            <a:ext cx="2474591" cy="42838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5E00C45-1EE0-DD75-8559-149730229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0894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allou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0919" y="284958"/>
            <a:ext cx="5523781" cy="628729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11D002-59D0-4C77-B98C-16790A8D0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3" y="198288"/>
            <a:ext cx="5524575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2466BD5-32E9-58C2-F347-B997CDC9CD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18" y="2049999"/>
            <a:ext cx="247459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71407-3C73-F448-3289-4677C96FF4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6491" y="2049999"/>
            <a:ext cx="2474591" cy="3948371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9121D0-84A4-C276-51D6-B82635070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0349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s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F1062D6-5670-E376-5181-FACE84388D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1670659"/>
            <a:ext cx="2477765" cy="432771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A89EF34-F2E4-1534-281A-F12601CCE8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160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1670659"/>
            <a:ext cx="2477765" cy="432771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23AA7FF-0113-F5C1-9CF1-3E28A9EDE5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730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5524575" cy="228679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000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6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178392"/>
      </p:ext>
    </p:extLst>
  </p:cSld>
  <p:clrMapOvr>
    <a:masterClrMapping/>
  </p:clrMapOvr>
  <p:transition spd="med"/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3317" y="282576"/>
            <a:ext cx="8574559" cy="628967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86EB8B-4F70-72DC-4A10-ADEC0AD0B7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99" y="838201"/>
            <a:ext cx="2477765" cy="51601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4DFC889-BCBA-9820-7C00-9CAFC3CDC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0741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838201"/>
            <a:ext cx="2477765" cy="5160169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47603" y="0"/>
            <a:ext cx="9144397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FD01A40-3A7E-CCA0-FBA4-E986F12F1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1920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300" y="1714500"/>
            <a:ext cx="11617400" cy="4857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513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9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B6E0CF3B-8B59-A4D8-165F-D1C4D82215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794" y="1714501"/>
            <a:ext cx="6095207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5FAAEB1-AD67-488F-2517-86CE845CF1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7999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C7BD80C-5F12-B9E7-5E65-ACB7DFAC73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0031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9703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1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35468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D9D1164-4A93-B0E2-6D25-F8864846A006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064001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3F8B56AF-52AA-5E59-BA88-70404F278A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8000" y="1714501"/>
            <a:ext cx="406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AF9F0B2-E79B-2280-4DAE-E1C97D65A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348473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9B21D27-BCEE-C074-614C-F99B502BD5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5270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FF59F3-4E78-4974-C05E-2C2C59B1D5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23238" y="1212112"/>
            <a:ext cx="3481463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3CAF370-33EE-D67D-E96F-733E956E2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78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9"/>
            <a:ext cx="11635749" cy="1237108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22486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mes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D498F1FB-22B3-9AAC-6790-A9D6D32D45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CAB4620-2F71-B201-4FA4-5417D584CB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40DA3C1D-4FE8-61BF-7D06-224706641B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44397" y="1714501"/>
            <a:ext cx="3047603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F168869-82BA-2297-7E72-FE2F22677B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7999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E7519B3-44AE-7C8E-AE29-6E9908A86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11635749" cy="639912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2E62052-683C-471D-3996-B3F66EC7712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5253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CDD7D6-2616-D68F-1F6D-551050ED93D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83206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CA27042-6765-7A94-2E7D-BA41F8D1D7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26841" y="1212112"/>
            <a:ext cx="2473892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9467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116" y="449"/>
            <a:ext cx="6092693" cy="30579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B9CB0EE-399D-E7B8-85E6-488055A857C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4" y="3058436"/>
            <a:ext cx="3038393" cy="30402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06E546E-2AFE-C74E-3532-5D6612A3AD8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10647" y="3058436"/>
            <a:ext cx="6080559" cy="30402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3BB8FDD-3412-E9EE-8A7C-A6A76F2B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951" y="198288"/>
            <a:ext cx="2492940" cy="1516213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DA1707-6C7E-1724-4E62-628D2A33B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5036" y="3429001"/>
            <a:ext cx="2479763" cy="25693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678E61A-FAE0-02C2-9E52-B553A1B787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28523" y="247896"/>
            <a:ext cx="2479763" cy="2569369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63D1EFE-4D07-775A-BAD0-C2C3361DC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0299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5049878" cy="5239544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636489"/>
      </p:ext>
    </p:extLst>
  </p:cSld>
  <p:clrMapOvr>
    <a:masterClrMapping/>
  </p:clrMapOvr>
  <p:transition spd="med"/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1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904466-2B5F-6EA8-820B-F755AB4A7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9A7587F-6D7B-BAB0-F192-BC642D3467EC}"/>
              </a:ext>
            </a:extLst>
          </p:cNvPr>
          <p:cNvGrpSpPr/>
          <p:nvPr userDrawn="1"/>
        </p:nvGrpSpPr>
        <p:grpSpPr>
          <a:xfrm>
            <a:off x="6380919" y="888579"/>
            <a:ext cx="5534487" cy="5080843"/>
            <a:chOff x="14598826" y="3810064"/>
            <a:chExt cx="7999302" cy="7342668"/>
          </a:xfrm>
        </p:grpSpPr>
        <p:sp>
          <p:nvSpPr>
            <p:cNvPr id="6" name="Graphic 10">
              <a:extLst>
                <a:ext uri="{FF2B5EF4-FFF2-40B4-BE49-F238E27FC236}">
                  <a16:creationId xmlns:a16="http://schemas.microsoft.com/office/drawing/2014/main" id="{A0698D66-5EF7-21B4-8CF1-23BA7E356F60}"/>
                </a:ext>
              </a:extLst>
            </p:cNvPr>
            <p:cNvSpPr/>
            <p:nvPr/>
          </p:nvSpPr>
          <p:spPr>
            <a:xfrm rot="16200000">
              <a:off x="19736094" y="740186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7" name="Graphic 10">
              <a:extLst>
                <a:ext uri="{FF2B5EF4-FFF2-40B4-BE49-F238E27FC236}">
                  <a16:creationId xmlns:a16="http://schemas.microsoft.com/office/drawing/2014/main" id="{79B7D8A0-6A61-AABD-38B0-A377886B73B3}"/>
                </a:ext>
              </a:extLst>
            </p:cNvPr>
            <p:cNvSpPr/>
            <p:nvPr/>
          </p:nvSpPr>
          <p:spPr>
            <a:xfrm rot="5400000">
              <a:off x="19736094" y="8263896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8" name="Graphic 15">
              <a:extLst>
                <a:ext uri="{FF2B5EF4-FFF2-40B4-BE49-F238E27FC236}">
                  <a16:creationId xmlns:a16="http://schemas.microsoft.com/office/drawing/2014/main" id="{49ED3B2D-C0F5-50AF-9CDF-E59C9FCE830F}"/>
                </a:ext>
              </a:extLst>
            </p:cNvPr>
            <p:cNvSpPr/>
            <p:nvPr/>
          </p:nvSpPr>
          <p:spPr>
            <a:xfrm>
              <a:off x="21035934" y="9556940"/>
              <a:ext cx="1562194" cy="1562194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E4373C9-ADEF-477B-7D5A-D14C92A7F543}"/>
                </a:ext>
              </a:extLst>
            </p:cNvPr>
            <p:cNvSpPr/>
            <p:nvPr/>
          </p:nvSpPr>
          <p:spPr bwMode="auto">
            <a:xfrm>
              <a:off x="16137165" y="7963567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751D607-04D5-A7AA-B2CF-759C9197F1AD}"/>
                </a:ext>
              </a:extLst>
            </p:cNvPr>
            <p:cNvSpPr/>
            <p:nvPr/>
          </p:nvSpPr>
          <p:spPr>
            <a:xfrm>
              <a:off x="21005659" y="6270686"/>
              <a:ext cx="1562242" cy="1562194"/>
            </a:xfrm>
            <a:custGeom>
              <a:avLst/>
              <a:gdLst>
                <a:gd name="connsiteX0" fmla="*/ 190102 w 356387"/>
                <a:gd name="connsiteY0" fmla="*/ 321574 h 356376"/>
                <a:gd name="connsiteX1" fmla="*/ 185949 w 356387"/>
                <a:gd name="connsiteY1" fmla="*/ 317769 h 356376"/>
                <a:gd name="connsiteX2" fmla="*/ 165288 w 356387"/>
                <a:gd name="connsiteY2" fmla="*/ 295518 h 356376"/>
                <a:gd name="connsiteX3" fmla="*/ 139082 w 356387"/>
                <a:gd name="connsiteY3" fmla="*/ 313175 h 356376"/>
                <a:gd name="connsiteX4" fmla="*/ 133281 w 356387"/>
                <a:gd name="connsiteY4" fmla="*/ 314312 h 356376"/>
                <a:gd name="connsiteX5" fmla="*/ 132156 w 356387"/>
                <a:gd name="connsiteY5" fmla="*/ 308511 h 356376"/>
                <a:gd name="connsiteX6" fmla="*/ 165276 w 356387"/>
                <a:gd name="connsiteY6" fmla="*/ 287154 h 356376"/>
                <a:gd name="connsiteX7" fmla="*/ 194255 w 356387"/>
                <a:gd name="connsiteY7" fmla="*/ 317015 h 356376"/>
                <a:gd name="connsiteX8" fmla="*/ 190473 w 356387"/>
                <a:gd name="connsiteY8" fmla="*/ 321550 h 356376"/>
                <a:gd name="connsiteX9" fmla="*/ 190102 w 356387"/>
                <a:gd name="connsiteY9" fmla="*/ 321574 h 356376"/>
                <a:gd name="connsiteX10" fmla="*/ 226517 w 356387"/>
                <a:gd name="connsiteY10" fmla="*/ 312803 h 356376"/>
                <a:gd name="connsiteX11" fmla="*/ 224336 w 356387"/>
                <a:gd name="connsiteY11" fmla="*/ 312177 h 356376"/>
                <a:gd name="connsiteX12" fmla="*/ 195032 w 356387"/>
                <a:gd name="connsiteY12" fmla="*/ 265646 h 356376"/>
                <a:gd name="connsiteX13" fmla="*/ 198513 w 356387"/>
                <a:gd name="connsiteY13" fmla="*/ 246633 h 356376"/>
                <a:gd name="connsiteX14" fmla="*/ 203930 w 356387"/>
                <a:gd name="connsiteY14" fmla="*/ 244301 h 356376"/>
                <a:gd name="connsiteX15" fmla="*/ 206262 w 356387"/>
                <a:gd name="connsiteY15" fmla="*/ 249718 h 356376"/>
                <a:gd name="connsiteX16" fmla="*/ 203397 w 356387"/>
                <a:gd name="connsiteY16" fmla="*/ 265646 h 356376"/>
                <a:gd name="connsiteX17" fmla="*/ 228698 w 356387"/>
                <a:gd name="connsiteY17" fmla="*/ 305054 h 356376"/>
                <a:gd name="connsiteX18" fmla="*/ 230078 w 356387"/>
                <a:gd name="connsiteY18" fmla="*/ 310785 h 356376"/>
                <a:gd name="connsiteX19" fmla="*/ 226517 w 356387"/>
                <a:gd name="connsiteY19" fmla="*/ 312803 h 356376"/>
                <a:gd name="connsiteX20" fmla="*/ 108549 w 356387"/>
                <a:gd name="connsiteY20" fmla="*/ 303105 h 356376"/>
                <a:gd name="connsiteX21" fmla="*/ 105068 w 356387"/>
                <a:gd name="connsiteY21" fmla="*/ 301238 h 356376"/>
                <a:gd name="connsiteX22" fmla="*/ 106240 w 356387"/>
                <a:gd name="connsiteY22" fmla="*/ 295449 h 356376"/>
                <a:gd name="connsiteX23" fmla="*/ 174835 w 356387"/>
                <a:gd name="connsiteY23" fmla="*/ 240937 h 356376"/>
                <a:gd name="connsiteX24" fmla="*/ 204557 w 356387"/>
                <a:gd name="connsiteY24" fmla="*/ 185775 h 356376"/>
                <a:gd name="connsiteX25" fmla="*/ 177724 w 356387"/>
                <a:gd name="connsiteY25" fmla="*/ 156970 h 356376"/>
                <a:gd name="connsiteX26" fmla="*/ 138838 w 356387"/>
                <a:gd name="connsiteY26" fmla="*/ 192074 h 356376"/>
                <a:gd name="connsiteX27" fmla="*/ 120439 w 356387"/>
                <a:gd name="connsiteY27" fmla="*/ 216320 h 356376"/>
                <a:gd name="connsiteX28" fmla="*/ 64373 w 356387"/>
                <a:gd name="connsiteY28" fmla="*/ 254405 h 356376"/>
                <a:gd name="connsiteX29" fmla="*/ 58735 w 356387"/>
                <a:gd name="connsiteY29" fmla="*/ 252665 h 356376"/>
                <a:gd name="connsiteX30" fmla="*/ 60486 w 356387"/>
                <a:gd name="connsiteY30" fmla="*/ 247027 h 356376"/>
                <a:gd name="connsiteX31" fmla="*/ 114616 w 356387"/>
                <a:gd name="connsiteY31" fmla="*/ 210345 h 356376"/>
                <a:gd name="connsiteX32" fmla="*/ 131889 w 356387"/>
                <a:gd name="connsiteY32" fmla="*/ 187457 h 356376"/>
                <a:gd name="connsiteX33" fmla="*/ 177736 w 356387"/>
                <a:gd name="connsiteY33" fmla="*/ 148629 h 356376"/>
                <a:gd name="connsiteX34" fmla="*/ 212932 w 356387"/>
                <a:gd name="connsiteY34" fmla="*/ 185787 h 356376"/>
                <a:gd name="connsiteX35" fmla="*/ 180624 w 356387"/>
                <a:gd name="connsiteY35" fmla="*/ 246981 h 356376"/>
                <a:gd name="connsiteX36" fmla="*/ 110869 w 356387"/>
                <a:gd name="connsiteY36" fmla="*/ 302421 h 356376"/>
                <a:gd name="connsiteX37" fmla="*/ 108549 w 356387"/>
                <a:gd name="connsiteY37" fmla="*/ 303105 h 356376"/>
                <a:gd name="connsiteX38" fmla="*/ 263129 w 356387"/>
                <a:gd name="connsiteY38" fmla="*/ 292433 h 356376"/>
                <a:gd name="connsiteX39" fmla="*/ 261598 w 356387"/>
                <a:gd name="connsiteY39" fmla="*/ 292142 h 356376"/>
                <a:gd name="connsiteX40" fmla="*/ 224197 w 356387"/>
                <a:gd name="connsiteY40" fmla="*/ 236180 h 356376"/>
                <a:gd name="connsiteX41" fmla="*/ 227468 w 356387"/>
                <a:gd name="connsiteY41" fmla="*/ 212422 h 356376"/>
                <a:gd name="connsiteX42" fmla="*/ 231482 w 356387"/>
                <a:gd name="connsiteY42" fmla="*/ 180949 h 356376"/>
                <a:gd name="connsiteX43" fmla="*/ 177701 w 356387"/>
                <a:gd name="connsiteY43" fmla="*/ 128583 h 356376"/>
                <a:gd name="connsiteX44" fmla="*/ 122121 w 356387"/>
                <a:gd name="connsiteY44" fmla="*/ 165044 h 356376"/>
                <a:gd name="connsiteX45" fmla="*/ 58793 w 356387"/>
                <a:gd name="connsiteY45" fmla="*/ 223048 h 356376"/>
                <a:gd name="connsiteX46" fmla="*/ 53422 w 356387"/>
                <a:gd name="connsiteY46" fmla="*/ 220577 h 356376"/>
                <a:gd name="connsiteX47" fmla="*/ 55893 w 356387"/>
                <a:gd name="connsiteY47" fmla="*/ 215206 h 356376"/>
                <a:gd name="connsiteX48" fmla="*/ 114929 w 356387"/>
                <a:gd name="connsiteY48" fmla="*/ 160798 h 356376"/>
                <a:gd name="connsiteX49" fmla="*/ 177701 w 356387"/>
                <a:gd name="connsiteY49" fmla="*/ 120230 h 356376"/>
                <a:gd name="connsiteX50" fmla="*/ 239835 w 356387"/>
                <a:gd name="connsiteY50" fmla="*/ 180937 h 356376"/>
                <a:gd name="connsiteX51" fmla="*/ 235647 w 356387"/>
                <a:gd name="connsiteY51" fmla="*/ 214116 h 356376"/>
                <a:gd name="connsiteX52" fmla="*/ 232549 w 356387"/>
                <a:gd name="connsiteY52" fmla="*/ 236157 h 356376"/>
                <a:gd name="connsiteX53" fmla="*/ 264649 w 356387"/>
                <a:gd name="connsiteY53" fmla="*/ 284347 h 356376"/>
                <a:gd name="connsiteX54" fmla="*/ 267004 w 356387"/>
                <a:gd name="connsiteY54" fmla="*/ 289764 h 356376"/>
                <a:gd name="connsiteX55" fmla="*/ 263129 w 356387"/>
                <a:gd name="connsiteY55" fmla="*/ 292433 h 356376"/>
                <a:gd name="connsiteX56" fmla="*/ 83560 w 356387"/>
                <a:gd name="connsiteY56" fmla="*/ 284695 h 356376"/>
                <a:gd name="connsiteX57" fmla="*/ 79999 w 356387"/>
                <a:gd name="connsiteY57" fmla="*/ 282699 h 356376"/>
                <a:gd name="connsiteX58" fmla="*/ 81368 w 356387"/>
                <a:gd name="connsiteY58" fmla="*/ 276957 h 356376"/>
                <a:gd name="connsiteX59" fmla="*/ 174221 w 356387"/>
                <a:gd name="connsiteY59" fmla="*/ 186332 h 356376"/>
                <a:gd name="connsiteX60" fmla="*/ 179870 w 356387"/>
                <a:gd name="connsiteY60" fmla="*/ 184615 h 356376"/>
                <a:gd name="connsiteX61" fmla="*/ 181587 w 356387"/>
                <a:gd name="connsiteY61" fmla="*/ 190264 h 356376"/>
                <a:gd name="connsiteX62" fmla="*/ 85741 w 356387"/>
                <a:gd name="connsiteY62" fmla="*/ 284068 h 356376"/>
                <a:gd name="connsiteX63" fmla="*/ 83560 w 356387"/>
                <a:gd name="connsiteY63" fmla="*/ 284695 h 356376"/>
                <a:gd name="connsiteX64" fmla="*/ 280704 w 356387"/>
                <a:gd name="connsiteY64" fmla="*/ 269834 h 356376"/>
                <a:gd name="connsiteX65" fmla="*/ 279034 w 356387"/>
                <a:gd name="connsiteY65" fmla="*/ 269486 h 356376"/>
                <a:gd name="connsiteX66" fmla="*/ 253686 w 356387"/>
                <a:gd name="connsiteY66" fmla="*/ 227619 h 356376"/>
                <a:gd name="connsiteX67" fmla="*/ 256551 w 356387"/>
                <a:gd name="connsiteY67" fmla="*/ 203048 h 356376"/>
                <a:gd name="connsiteX68" fmla="*/ 259695 w 356387"/>
                <a:gd name="connsiteY68" fmla="*/ 173536 h 356376"/>
                <a:gd name="connsiteX69" fmla="*/ 177701 w 356387"/>
                <a:gd name="connsiteY69" fmla="*/ 100405 h 356376"/>
                <a:gd name="connsiteX70" fmla="*/ 105173 w 356387"/>
                <a:gd name="connsiteY70" fmla="*/ 139128 h 356376"/>
                <a:gd name="connsiteX71" fmla="*/ 99488 w 356387"/>
                <a:gd name="connsiteY71" fmla="*/ 146564 h 356376"/>
                <a:gd name="connsiteX72" fmla="*/ 58920 w 356387"/>
                <a:gd name="connsiteY72" fmla="*/ 184731 h 356376"/>
                <a:gd name="connsiteX73" fmla="*/ 53480 w 356387"/>
                <a:gd name="connsiteY73" fmla="*/ 182434 h 356376"/>
                <a:gd name="connsiteX74" fmla="*/ 55777 w 356387"/>
                <a:gd name="connsiteY74" fmla="*/ 176993 h 356376"/>
                <a:gd name="connsiteX75" fmla="*/ 92795 w 356387"/>
                <a:gd name="connsiteY75" fmla="*/ 141553 h 356376"/>
                <a:gd name="connsiteX76" fmla="*/ 98641 w 356387"/>
                <a:gd name="connsiteY76" fmla="*/ 133908 h 356376"/>
                <a:gd name="connsiteX77" fmla="*/ 177689 w 356387"/>
                <a:gd name="connsiteY77" fmla="*/ 92064 h 356376"/>
                <a:gd name="connsiteX78" fmla="*/ 268048 w 356387"/>
                <a:gd name="connsiteY78" fmla="*/ 173548 h 356376"/>
                <a:gd name="connsiteX79" fmla="*/ 264683 w 356387"/>
                <a:gd name="connsiteY79" fmla="*/ 204939 h 356376"/>
                <a:gd name="connsiteX80" fmla="*/ 262027 w 356387"/>
                <a:gd name="connsiteY80" fmla="*/ 227642 h 356376"/>
                <a:gd name="connsiteX81" fmla="*/ 282340 w 356387"/>
                <a:gd name="connsiteY81" fmla="*/ 261853 h 356376"/>
                <a:gd name="connsiteX82" fmla="*/ 284509 w 356387"/>
                <a:gd name="connsiteY82" fmla="*/ 267352 h 356376"/>
                <a:gd name="connsiteX83" fmla="*/ 280704 w 356387"/>
                <a:gd name="connsiteY83" fmla="*/ 269834 h 356376"/>
                <a:gd name="connsiteX84" fmla="*/ 284509 w 356387"/>
                <a:gd name="connsiteY84" fmla="*/ 241981 h 356376"/>
                <a:gd name="connsiteX85" fmla="*/ 282050 w 356387"/>
                <a:gd name="connsiteY85" fmla="*/ 241180 h 356376"/>
                <a:gd name="connsiteX86" fmla="*/ 281133 w 356387"/>
                <a:gd name="connsiteY86" fmla="*/ 235345 h 356376"/>
                <a:gd name="connsiteX87" fmla="*/ 294463 w 356387"/>
                <a:gd name="connsiteY87" fmla="*/ 184023 h 356376"/>
                <a:gd name="connsiteX88" fmla="*/ 287119 w 356387"/>
                <a:gd name="connsiteY88" fmla="*/ 146959 h 356376"/>
                <a:gd name="connsiteX89" fmla="*/ 289138 w 356387"/>
                <a:gd name="connsiteY89" fmla="*/ 141402 h 356376"/>
                <a:gd name="connsiteX90" fmla="*/ 294695 w 356387"/>
                <a:gd name="connsiteY90" fmla="*/ 143409 h 356376"/>
                <a:gd name="connsiteX91" fmla="*/ 302827 w 356387"/>
                <a:gd name="connsiteY91" fmla="*/ 184023 h 356376"/>
                <a:gd name="connsiteX92" fmla="*/ 287885 w 356387"/>
                <a:gd name="connsiteY92" fmla="*/ 240264 h 356376"/>
                <a:gd name="connsiteX93" fmla="*/ 284509 w 356387"/>
                <a:gd name="connsiteY93" fmla="*/ 241981 h 356376"/>
                <a:gd name="connsiteX94" fmla="*/ 64141 w 356387"/>
                <a:gd name="connsiteY94" fmla="*/ 141820 h 356376"/>
                <a:gd name="connsiteX95" fmla="*/ 61844 w 356387"/>
                <a:gd name="connsiteY95" fmla="*/ 141135 h 356376"/>
                <a:gd name="connsiteX96" fmla="*/ 60649 w 356387"/>
                <a:gd name="connsiteY96" fmla="*/ 135346 h 356376"/>
                <a:gd name="connsiteX97" fmla="*/ 177701 w 356387"/>
                <a:gd name="connsiteY97" fmla="*/ 63955 h 356376"/>
                <a:gd name="connsiteX98" fmla="*/ 285565 w 356387"/>
                <a:gd name="connsiteY98" fmla="*/ 122110 h 356376"/>
                <a:gd name="connsiteX99" fmla="*/ 284370 w 356387"/>
                <a:gd name="connsiteY99" fmla="*/ 127899 h 356376"/>
                <a:gd name="connsiteX100" fmla="*/ 278581 w 356387"/>
                <a:gd name="connsiteY100" fmla="*/ 126704 h 356376"/>
                <a:gd name="connsiteX101" fmla="*/ 177701 w 356387"/>
                <a:gd name="connsiteY101" fmla="*/ 72308 h 356376"/>
                <a:gd name="connsiteX102" fmla="*/ 67621 w 356387"/>
                <a:gd name="connsiteY102" fmla="*/ 139952 h 356376"/>
                <a:gd name="connsiteX103" fmla="*/ 64141 w 356387"/>
                <a:gd name="connsiteY103" fmla="*/ 141820 h 356376"/>
                <a:gd name="connsiteX104" fmla="*/ 278001 w 356387"/>
                <a:gd name="connsiteY104" fmla="*/ 85544 h 356376"/>
                <a:gd name="connsiteX105" fmla="*/ 275020 w 356387"/>
                <a:gd name="connsiteY105" fmla="*/ 84291 h 356376"/>
                <a:gd name="connsiteX106" fmla="*/ 179220 w 356387"/>
                <a:gd name="connsiteY106" fmla="*/ 43155 h 356376"/>
                <a:gd name="connsiteX107" fmla="*/ 178698 w 356387"/>
                <a:gd name="connsiteY107" fmla="*/ 43155 h 356376"/>
                <a:gd name="connsiteX108" fmla="*/ 81310 w 356387"/>
                <a:gd name="connsiteY108" fmla="*/ 83839 h 356376"/>
                <a:gd name="connsiteX109" fmla="*/ 75405 w 356387"/>
                <a:gd name="connsiteY109" fmla="*/ 83908 h 356376"/>
                <a:gd name="connsiteX110" fmla="*/ 75335 w 356387"/>
                <a:gd name="connsiteY110" fmla="*/ 78004 h 356376"/>
                <a:gd name="connsiteX111" fmla="*/ 178698 w 356387"/>
                <a:gd name="connsiteY111" fmla="*/ 34802 h 356376"/>
                <a:gd name="connsiteX112" fmla="*/ 179255 w 356387"/>
                <a:gd name="connsiteY112" fmla="*/ 34802 h 356376"/>
                <a:gd name="connsiteX113" fmla="*/ 280983 w 356387"/>
                <a:gd name="connsiteY113" fmla="*/ 78444 h 356376"/>
                <a:gd name="connsiteX114" fmla="*/ 280925 w 356387"/>
                <a:gd name="connsiteY114" fmla="*/ 84349 h 356376"/>
                <a:gd name="connsiteX115" fmla="*/ 278001 w 356387"/>
                <a:gd name="connsiteY115" fmla="*/ 85544 h 356376"/>
                <a:gd name="connsiteX116" fmla="*/ 352200 w 356387"/>
                <a:gd name="connsiteY116" fmla="*/ 356376 h 356376"/>
                <a:gd name="connsiteX117" fmla="*/ 305797 w 356387"/>
                <a:gd name="connsiteY117" fmla="*/ 356376 h 356376"/>
                <a:gd name="connsiteX118" fmla="*/ 305797 w 356387"/>
                <a:gd name="connsiteY118" fmla="*/ 348023 h 356376"/>
                <a:gd name="connsiteX119" fmla="*/ 348023 w 356387"/>
                <a:gd name="connsiteY119" fmla="*/ 348023 h 356376"/>
                <a:gd name="connsiteX120" fmla="*/ 348023 w 356387"/>
                <a:gd name="connsiteY120" fmla="*/ 305797 h 356376"/>
                <a:gd name="connsiteX121" fmla="*/ 356388 w 356387"/>
                <a:gd name="connsiteY121" fmla="*/ 305797 h 356376"/>
                <a:gd name="connsiteX122" fmla="*/ 356388 w 356387"/>
                <a:gd name="connsiteY122" fmla="*/ 352200 h 356376"/>
                <a:gd name="connsiteX123" fmla="*/ 352200 w 356387"/>
                <a:gd name="connsiteY123" fmla="*/ 356376 h 356376"/>
                <a:gd name="connsiteX124" fmla="*/ 50579 w 356387"/>
                <a:gd name="connsiteY124" fmla="*/ 356376 h 356376"/>
                <a:gd name="connsiteX125" fmla="*/ 4176 w 356387"/>
                <a:gd name="connsiteY125" fmla="*/ 356376 h 356376"/>
                <a:gd name="connsiteX126" fmla="*/ 0 w 356387"/>
                <a:gd name="connsiteY126" fmla="*/ 352200 h 356376"/>
                <a:gd name="connsiteX127" fmla="*/ 0 w 356387"/>
                <a:gd name="connsiteY127" fmla="*/ 305797 h 356376"/>
                <a:gd name="connsiteX128" fmla="*/ 8353 w 356387"/>
                <a:gd name="connsiteY128" fmla="*/ 305797 h 356376"/>
                <a:gd name="connsiteX129" fmla="*/ 8353 w 356387"/>
                <a:gd name="connsiteY129" fmla="*/ 348023 h 356376"/>
                <a:gd name="connsiteX130" fmla="*/ 50579 w 356387"/>
                <a:gd name="connsiteY130" fmla="*/ 348023 h 356376"/>
                <a:gd name="connsiteX131" fmla="*/ 50579 w 356387"/>
                <a:gd name="connsiteY131" fmla="*/ 356376 h 356376"/>
                <a:gd name="connsiteX132" fmla="*/ 356376 w 356387"/>
                <a:gd name="connsiteY132" fmla="*/ 50579 h 356376"/>
                <a:gd name="connsiteX133" fmla="*/ 348023 w 356387"/>
                <a:gd name="connsiteY133" fmla="*/ 50579 h 356376"/>
                <a:gd name="connsiteX134" fmla="*/ 348023 w 356387"/>
                <a:gd name="connsiteY134" fmla="*/ 8353 h 356376"/>
                <a:gd name="connsiteX135" fmla="*/ 305797 w 356387"/>
                <a:gd name="connsiteY135" fmla="*/ 8353 h 356376"/>
                <a:gd name="connsiteX136" fmla="*/ 305797 w 356387"/>
                <a:gd name="connsiteY136" fmla="*/ 0 h 356376"/>
                <a:gd name="connsiteX137" fmla="*/ 352200 w 356387"/>
                <a:gd name="connsiteY137" fmla="*/ 0 h 356376"/>
                <a:gd name="connsiteX138" fmla="*/ 356376 w 356387"/>
                <a:gd name="connsiteY138" fmla="*/ 4176 h 356376"/>
                <a:gd name="connsiteX139" fmla="*/ 356376 w 356387"/>
                <a:gd name="connsiteY139" fmla="*/ 50579 h 356376"/>
                <a:gd name="connsiteX140" fmla="*/ 8353 w 356387"/>
                <a:gd name="connsiteY140" fmla="*/ 50579 h 356376"/>
                <a:gd name="connsiteX141" fmla="*/ 0 w 356387"/>
                <a:gd name="connsiteY141" fmla="*/ 50579 h 356376"/>
                <a:gd name="connsiteX142" fmla="*/ 0 w 356387"/>
                <a:gd name="connsiteY142" fmla="*/ 4176 h 356376"/>
                <a:gd name="connsiteX143" fmla="*/ 4176 w 356387"/>
                <a:gd name="connsiteY143" fmla="*/ 0 h 356376"/>
                <a:gd name="connsiteX144" fmla="*/ 50579 w 356387"/>
                <a:gd name="connsiteY144" fmla="*/ 0 h 356376"/>
                <a:gd name="connsiteX145" fmla="*/ 50579 w 356387"/>
                <a:gd name="connsiteY145" fmla="*/ 8353 h 356376"/>
                <a:gd name="connsiteX146" fmla="*/ 8353 w 356387"/>
                <a:gd name="connsiteY146" fmla="*/ 8353 h 356376"/>
                <a:gd name="connsiteX147" fmla="*/ 8353 w 356387"/>
                <a:gd name="connsiteY147" fmla="*/ 50579 h 35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356387" h="356376">
                  <a:moveTo>
                    <a:pt x="190102" y="321574"/>
                  </a:moveTo>
                  <a:cubicBezTo>
                    <a:pt x="187956" y="321574"/>
                    <a:pt x="186135" y="319938"/>
                    <a:pt x="185949" y="317769"/>
                  </a:cubicBezTo>
                  <a:cubicBezTo>
                    <a:pt x="184951" y="306690"/>
                    <a:pt x="178176" y="295518"/>
                    <a:pt x="165288" y="295518"/>
                  </a:cubicBezTo>
                  <a:cubicBezTo>
                    <a:pt x="153409" y="295518"/>
                    <a:pt x="146448" y="302270"/>
                    <a:pt x="139082" y="313175"/>
                  </a:cubicBezTo>
                  <a:cubicBezTo>
                    <a:pt x="137794" y="315100"/>
                    <a:pt x="135219" y="315588"/>
                    <a:pt x="133281" y="314312"/>
                  </a:cubicBezTo>
                  <a:cubicBezTo>
                    <a:pt x="131367" y="313024"/>
                    <a:pt x="130868" y="310414"/>
                    <a:pt x="132156" y="308511"/>
                  </a:cubicBezTo>
                  <a:cubicBezTo>
                    <a:pt x="139650" y="297421"/>
                    <a:pt x="148838" y="287154"/>
                    <a:pt x="165276" y="287154"/>
                  </a:cubicBezTo>
                  <a:cubicBezTo>
                    <a:pt x="183339" y="287154"/>
                    <a:pt x="192956" y="302641"/>
                    <a:pt x="194255" y="317015"/>
                  </a:cubicBezTo>
                  <a:cubicBezTo>
                    <a:pt x="194464" y="319312"/>
                    <a:pt x="192770" y="321342"/>
                    <a:pt x="190473" y="321550"/>
                  </a:cubicBezTo>
                  <a:cubicBezTo>
                    <a:pt x="190357" y="321562"/>
                    <a:pt x="190230" y="321574"/>
                    <a:pt x="190102" y="321574"/>
                  </a:cubicBezTo>
                  <a:close/>
                  <a:moveTo>
                    <a:pt x="226517" y="312803"/>
                  </a:moveTo>
                  <a:cubicBezTo>
                    <a:pt x="225774" y="312803"/>
                    <a:pt x="225020" y="312595"/>
                    <a:pt x="224336" y="312177"/>
                  </a:cubicBezTo>
                  <a:cubicBezTo>
                    <a:pt x="205983" y="300947"/>
                    <a:pt x="195032" y="283558"/>
                    <a:pt x="195032" y="265646"/>
                  </a:cubicBezTo>
                  <a:cubicBezTo>
                    <a:pt x="195032" y="259185"/>
                    <a:pt x="196332" y="252085"/>
                    <a:pt x="198513" y="246633"/>
                  </a:cubicBezTo>
                  <a:cubicBezTo>
                    <a:pt x="199359" y="244463"/>
                    <a:pt x="201854" y="243454"/>
                    <a:pt x="203930" y="244301"/>
                  </a:cubicBezTo>
                  <a:cubicBezTo>
                    <a:pt x="206088" y="245148"/>
                    <a:pt x="207120" y="247572"/>
                    <a:pt x="206262" y="249718"/>
                  </a:cubicBezTo>
                  <a:cubicBezTo>
                    <a:pt x="204139" y="255043"/>
                    <a:pt x="203397" y="261447"/>
                    <a:pt x="203397" y="265646"/>
                  </a:cubicBezTo>
                  <a:cubicBezTo>
                    <a:pt x="203397" y="280391"/>
                    <a:pt x="213095" y="295495"/>
                    <a:pt x="228698" y="305054"/>
                  </a:cubicBezTo>
                  <a:cubicBezTo>
                    <a:pt x="230670" y="306261"/>
                    <a:pt x="231296" y="308824"/>
                    <a:pt x="230078" y="310785"/>
                  </a:cubicBezTo>
                  <a:cubicBezTo>
                    <a:pt x="229289" y="312096"/>
                    <a:pt x="227921" y="312803"/>
                    <a:pt x="226517" y="312803"/>
                  </a:cubicBezTo>
                  <a:close/>
                  <a:moveTo>
                    <a:pt x="108549" y="303105"/>
                  </a:moveTo>
                  <a:cubicBezTo>
                    <a:pt x="107191" y="303105"/>
                    <a:pt x="105869" y="302444"/>
                    <a:pt x="105068" y="301238"/>
                  </a:cubicBezTo>
                  <a:cubicBezTo>
                    <a:pt x="103792" y="299312"/>
                    <a:pt x="104314" y="296713"/>
                    <a:pt x="106240" y="295449"/>
                  </a:cubicBezTo>
                  <a:cubicBezTo>
                    <a:pt x="132411" y="278094"/>
                    <a:pt x="153571" y="261284"/>
                    <a:pt x="174835" y="240937"/>
                  </a:cubicBezTo>
                  <a:cubicBezTo>
                    <a:pt x="185937" y="230310"/>
                    <a:pt x="204557" y="209011"/>
                    <a:pt x="204557" y="185775"/>
                  </a:cubicBezTo>
                  <a:cubicBezTo>
                    <a:pt x="204557" y="171808"/>
                    <a:pt x="195148" y="156970"/>
                    <a:pt x="177724" y="156970"/>
                  </a:cubicBezTo>
                  <a:cubicBezTo>
                    <a:pt x="162214" y="156970"/>
                    <a:pt x="150323" y="174824"/>
                    <a:pt x="138838" y="192074"/>
                  </a:cubicBezTo>
                  <a:cubicBezTo>
                    <a:pt x="132701" y="201297"/>
                    <a:pt x="126901" y="209997"/>
                    <a:pt x="120439" y="216320"/>
                  </a:cubicBezTo>
                  <a:cubicBezTo>
                    <a:pt x="102829" y="233524"/>
                    <a:pt x="84628" y="243744"/>
                    <a:pt x="64373" y="254405"/>
                  </a:cubicBezTo>
                  <a:cubicBezTo>
                    <a:pt x="62331" y="255484"/>
                    <a:pt x="59790" y="254684"/>
                    <a:pt x="58735" y="252665"/>
                  </a:cubicBezTo>
                  <a:cubicBezTo>
                    <a:pt x="57656" y="250612"/>
                    <a:pt x="58445" y="248094"/>
                    <a:pt x="60486" y="247027"/>
                  </a:cubicBezTo>
                  <a:cubicBezTo>
                    <a:pt x="80150" y="236668"/>
                    <a:pt x="97806" y="226772"/>
                    <a:pt x="114616" y="210345"/>
                  </a:cubicBezTo>
                  <a:cubicBezTo>
                    <a:pt x="120439" y="204649"/>
                    <a:pt x="126008" y="196297"/>
                    <a:pt x="131889" y="187457"/>
                  </a:cubicBezTo>
                  <a:cubicBezTo>
                    <a:pt x="144604" y="168362"/>
                    <a:pt x="157747" y="148629"/>
                    <a:pt x="177736" y="148629"/>
                  </a:cubicBezTo>
                  <a:cubicBezTo>
                    <a:pt x="199765" y="148629"/>
                    <a:pt x="212932" y="167515"/>
                    <a:pt x="212932" y="185787"/>
                  </a:cubicBezTo>
                  <a:cubicBezTo>
                    <a:pt x="212932" y="212143"/>
                    <a:pt x="192689" y="235438"/>
                    <a:pt x="180624" y="246981"/>
                  </a:cubicBezTo>
                  <a:cubicBezTo>
                    <a:pt x="158989" y="267688"/>
                    <a:pt x="137481" y="284788"/>
                    <a:pt x="110869" y="302421"/>
                  </a:cubicBezTo>
                  <a:cubicBezTo>
                    <a:pt x="110138" y="302873"/>
                    <a:pt x="109337" y="303105"/>
                    <a:pt x="108549" y="303105"/>
                  </a:cubicBezTo>
                  <a:close/>
                  <a:moveTo>
                    <a:pt x="263129" y="292433"/>
                  </a:moveTo>
                  <a:cubicBezTo>
                    <a:pt x="262619" y="292433"/>
                    <a:pt x="262096" y="292340"/>
                    <a:pt x="261598" y="292142"/>
                  </a:cubicBezTo>
                  <a:cubicBezTo>
                    <a:pt x="230693" y="279996"/>
                    <a:pt x="224197" y="255008"/>
                    <a:pt x="224197" y="236180"/>
                  </a:cubicBezTo>
                  <a:cubicBezTo>
                    <a:pt x="224197" y="228060"/>
                    <a:pt x="225798" y="220473"/>
                    <a:pt x="227468" y="212422"/>
                  </a:cubicBezTo>
                  <a:cubicBezTo>
                    <a:pt x="229440" y="203002"/>
                    <a:pt x="231482" y="193281"/>
                    <a:pt x="231482" y="180949"/>
                  </a:cubicBezTo>
                  <a:cubicBezTo>
                    <a:pt x="231482" y="159000"/>
                    <a:pt x="212805" y="128583"/>
                    <a:pt x="177701" y="128583"/>
                  </a:cubicBezTo>
                  <a:cubicBezTo>
                    <a:pt x="148096" y="128583"/>
                    <a:pt x="130172" y="151425"/>
                    <a:pt x="122121" y="165044"/>
                  </a:cubicBezTo>
                  <a:cubicBezTo>
                    <a:pt x="114256" y="178350"/>
                    <a:pt x="92354" y="210635"/>
                    <a:pt x="58793" y="223048"/>
                  </a:cubicBezTo>
                  <a:cubicBezTo>
                    <a:pt x="56612" y="223825"/>
                    <a:pt x="54222" y="222758"/>
                    <a:pt x="53422" y="220577"/>
                  </a:cubicBezTo>
                  <a:cubicBezTo>
                    <a:pt x="52621" y="218408"/>
                    <a:pt x="53735" y="216007"/>
                    <a:pt x="55893" y="215206"/>
                  </a:cubicBezTo>
                  <a:cubicBezTo>
                    <a:pt x="77435" y="207248"/>
                    <a:pt x="99500" y="186912"/>
                    <a:pt x="114929" y="160798"/>
                  </a:cubicBezTo>
                  <a:cubicBezTo>
                    <a:pt x="123885" y="145648"/>
                    <a:pt x="143943" y="120230"/>
                    <a:pt x="177701" y="120230"/>
                  </a:cubicBezTo>
                  <a:cubicBezTo>
                    <a:pt x="214870" y="120230"/>
                    <a:pt x="239835" y="151622"/>
                    <a:pt x="239835" y="180937"/>
                  </a:cubicBezTo>
                  <a:cubicBezTo>
                    <a:pt x="239835" y="194127"/>
                    <a:pt x="237607" y="204754"/>
                    <a:pt x="235647" y="214116"/>
                  </a:cubicBezTo>
                  <a:cubicBezTo>
                    <a:pt x="233976" y="222051"/>
                    <a:pt x="232549" y="228895"/>
                    <a:pt x="232549" y="236157"/>
                  </a:cubicBezTo>
                  <a:cubicBezTo>
                    <a:pt x="232549" y="252387"/>
                    <a:pt x="238106" y="273929"/>
                    <a:pt x="264649" y="284347"/>
                  </a:cubicBezTo>
                  <a:cubicBezTo>
                    <a:pt x="266795" y="285182"/>
                    <a:pt x="267850" y="287607"/>
                    <a:pt x="267004" y="289764"/>
                  </a:cubicBezTo>
                  <a:cubicBezTo>
                    <a:pt x="266377" y="291423"/>
                    <a:pt x="264799" y="292433"/>
                    <a:pt x="263129" y="292433"/>
                  </a:cubicBezTo>
                  <a:close/>
                  <a:moveTo>
                    <a:pt x="83560" y="284695"/>
                  </a:moveTo>
                  <a:cubicBezTo>
                    <a:pt x="82157" y="284695"/>
                    <a:pt x="80788" y="283976"/>
                    <a:pt x="79999" y="282699"/>
                  </a:cubicBezTo>
                  <a:cubicBezTo>
                    <a:pt x="78793" y="280739"/>
                    <a:pt x="79407" y="278164"/>
                    <a:pt x="81368" y="276957"/>
                  </a:cubicBezTo>
                  <a:cubicBezTo>
                    <a:pt x="111634" y="258338"/>
                    <a:pt x="152307" y="227480"/>
                    <a:pt x="174221" y="186332"/>
                  </a:cubicBezTo>
                  <a:cubicBezTo>
                    <a:pt x="175311" y="184290"/>
                    <a:pt x="177817" y="183501"/>
                    <a:pt x="179870" y="184615"/>
                  </a:cubicBezTo>
                  <a:cubicBezTo>
                    <a:pt x="181900" y="185705"/>
                    <a:pt x="182678" y="188234"/>
                    <a:pt x="181587" y="190264"/>
                  </a:cubicBezTo>
                  <a:cubicBezTo>
                    <a:pt x="158792" y="233048"/>
                    <a:pt x="116878" y="264904"/>
                    <a:pt x="85741" y="284068"/>
                  </a:cubicBezTo>
                  <a:cubicBezTo>
                    <a:pt x="85069" y="284486"/>
                    <a:pt x="84314" y="284695"/>
                    <a:pt x="83560" y="284695"/>
                  </a:cubicBezTo>
                  <a:close/>
                  <a:moveTo>
                    <a:pt x="280704" y="269834"/>
                  </a:moveTo>
                  <a:cubicBezTo>
                    <a:pt x="280147" y="269834"/>
                    <a:pt x="279579" y="269718"/>
                    <a:pt x="279034" y="269486"/>
                  </a:cubicBezTo>
                  <a:cubicBezTo>
                    <a:pt x="257943" y="260322"/>
                    <a:pt x="253686" y="246667"/>
                    <a:pt x="253686" y="227619"/>
                  </a:cubicBezTo>
                  <a:cubicBezTo>
                    <a:pt x="253686" y="215543"/>
                    <a:pt x="255078" y="209487"/>
                    <a:pt x="256551" y="203048"/>
                  </a:cubicBezTo>
                  <a:cubicBezTo>
                    <a:pt x="258106" y="196285"/>
                    <a:pt x="259695" y="189278"/>
                    <a:pt x="259695" y="173536"/>
                  </a:cubicBezTo>
                  <a:cubicBezTo>
                    <a:pt x="259695" y="138363"/>
                    <a:pt x="228350" y="100405"/>
                    <a:pt x="177701" y="100405"/>
                  </a:cubicBezTo>
                  <a:cubicBezTo>
                    <a:pt x="139430" y="100405"/>
                    <a:pt x="120892" y="119534"/>
                    <a:pt x="105173" y="139128"/>
                  </a:cubicBezTo>
                  <a:cubicBezTo>
                    <a:pt x="103444" y="141298"/>
                    <a:pt x="101542" y="143815"/>
                    <a:pt x="99488" y="146564"/>
                  </a:cubicBezTo>
                  <a:cubicBezTo>
                    <a:pt x="89593" y="159743"/>
                    <a:pt x="76055" y="177794"/>
                    <a:pt x="58920" y="184731"/>
                  </a:cubicBezTo>
                  <a:cubicBezTo>
                    <a:pt x="56774" y="185601"/>
                    <a:pt x="54350" y="184568"/>
                    <a:pt x="53480" y="182434"/>
                  </a:cubicBezTo>
                  <a:cubicBezTo>
                    <a:pt x="52610" y="180299"/>
                    <a:pt x="53642" y="177863"/>
                    <a:pt x="55777" y="176993"/>
                  </a:cubicBezTo>
                  <a:cubicBezTo>
                    <a:pt x="70753" y="170926"/>
                    <a:pt x="83491" y="153942"/>
                    <a:pt x="92795" y="141553"/>
                  </a:cubicBezTo>
                  <a:cubicBezTo>
                    <a:pt x="94918" y="138734"/>
                    <a:pt x="96867" y="136135"/>
                    <a:pt x="98641" y="133908"/>
                  </a:cubicBezTo>
                  <a:cubicBezTo>
                    <a:pt x="115625" y="112725"/>
                    <a:pt x="135718" y="92064"/>
                    <a:pt x="177689" y="92064"/>
                  </a:cubicBezTo>
                  <a:cubicBezTo>
                    <a:pt x="233501" y="92064"/>
                    <a:pt x="268048" y="134360"/>
                    <a:pt x="268048" y="173548"/>
                  </a:cubicBezTo>
                  <a:cubicBezTo>
                    <a:pt x="268048" y="190241"/>
                    <a:pt x="266261" y="198049"/>
                    <a:pt x="264683" y="204939"/>
                  </a:cubicBezTo>
                  <a:cubicBezTo>
                    <a:pt x="263315" y="210891"/>
                    <a:pt x="262027" y="216517"/>
                    <a:pt x="262027" y="227642"/>
                  </a:cubicBezTo>
                  <a:cubicBezTo>
                    <a:pt x="262027" y="246865"/>
                    <a:pt x="266957" y="255182"/>
                    <a:pt x="282340" y="261853"/>
                  </a:cubicBezTo>
                  <a:cubicBezTo>
                    <a:pt x="284463" y="262769"/>
                    <a:pt x="285426" y="265229"/>
                    <a:pt x="284509" y="267352"/>
                  </a:cubicBezTo>
                  <a:cubicBezTo>
                    <a:pt x="283848" y="268895"/>
                    <a:pt x="282317" y="269834"/>
                    <a:pt x="280704" y="269834"/>
                  </a:cubicBezTo>
                  <a:close/>
                  <a:moveTo>
                    <a:pt x="284509" y="241981"/>
                  </a:moveTo>
                  <a:cubicBezTo>
                    <a:pt x="283651" y="241981"/>
                    <a:pt x="282792" y="241725"/>
                    <a:pt x="282050" y="241180"/>
                  </a:cubicBezTo>
                  <a:cubicBezTo>
                    <a:pt x="280182" y="239823"/>
                    <a:pt x="279776" y="237201"/>
                    <a:pt x="281133" y="235345"/>
                  </a:cubicBezTo>
                  <a:cubicBezTo>
                    <a:pt x="289358" y="224081"/>
                    <a:pt x="294463" y="204417"/>
                    <a:pt x="294463" y="184023"/>
                  </a:cubicBezTo>
                  <a:cubicBezTo>
                    <a:pt x="294463" y="172910"/>
                    <a:pt x="293581" y="160729"/>
                    <a:pt x="287119" y="146959"/>
                  </a:cubicBezTo>
                  <a:cubicBezTo>
                    <a:pt x="286145" y="144871"/>
                    <a:pt x="287038" y="142376"/>
                    <a:pt x="289138" y="141402"/>
                  </a:cubicBezTo>
                  <a:cubicBezTo>
                    <a:pt x="291180" y="140439"/>
                    <a:pt x="293709" y="141321"/>
                    <a:pt x="294695" y="143409"/>
                  </a:cubicBezTo>
                  <a:cubicBezTo>
                    <a:pt x="301852" y="158699"/>
                    <a:pt x="302827" y="172527"/>
                    <a:pt x="302827" y="184023"/>
                  </a:cubicBezTo>
                  <a:cubicBezTo>
                    <a:pt x="302827" y="206436"/>
                    <a:pt x="297247" y="227468"/>
                    <a:pt x="287885" y="240264"/>
                  </a:cubicBezTo>
                  <a:cubicBezTo>
                    <a:pt x="287061" y="241377"/>
                    <a:pt x="285785" y="241981"/>
                    <a:pt x="284509" y="241981"/>
                  </a:cubicBezTo>
                  <a:close/>
                  <a:moveTo>
                    <a:pt x="64141" y="141820"/>
                  </a:moveTo>
                  <a:cubicBezTo>
                    <a:pt x="63352" y="141820"/>
                    <a:pt x="62551" y="141599"/>
                    <a:pt x="61844" y="141135"/>
                  </a:cubicBezTo>
                  <a:cubicBezTo>
                    <a:pt x="59918" y="139871"/>
                    <a:pt x="59384" y="137272"/>
                    <a:pt x="60649" y="135346"/>
                  </a:cubicBezTo>
                  <a:cubicBezTo>
                    <a:pt x="80834" y="104697"/>
                    <a:pt x="114941" y="63955"/>
                    <a:pt x="177701" y="63955"/>
                  </a:cubicBezTo>
                  <a:cubicBezTo>
                    <a:pt x="221262" y="63955"/>
                    <a:pt x="261574" y="85695"/>
                    <a:pt x="285565" y="122110"/>
                  </a:cubicBezTo>
                  <a:cubicBezTo>
                    <a:pt x="286829" y="124047"/>
                    <a:pt x="286296" y="126634"/>
                    <a:pt x="284370" y="127899"/>
                  </a:cubicBezTo>
                  <a:cubicBezTo>
                    <a:pt x="282444" y="129163"/>
                    <a:pt x="279857" y="128653"/>
                    <a:pt x="278581" y="126704"/>
                  </a:cubicBezTo>
                  <a:cubicBezTo>
                    <a:pt x="256145" y="92632"/>
                    <a:pt x="218431" y="72308"/>
                    <a:pt x="177701" y="72308"/>
                  </a:cubicBezTo>
                  <a:cubicBezTo>
                    <a:pt x="118966" y="72308"/>
                    <a:pt x="86751" y="110915"/>
                    <a:pt x="67621" y="139952"/>
                  </a:cubicBezTo>
                  <a:cubicBezTo>
                    <a:pt x="66832" y="141170"/>
                    <a:pt x="65498" y="141820"/>
                    <a:pt x="64141" y="141820"/>
                  </a:cubicBezTo>
                  <a:close/>
                  <a:moveTo>
                    <a:pt x="278001" y="85544"/>
                  </a:moveTo>
                  <a:cubicBezTo>
                    <a:pt x="276911" y="85544"/>
                    <a:pt x="275832" y="85127"/>
                    <a:pt x="275020" y="84291"/>
                  </a:cubicBezTo>
                  <a:cubicBezTo>
                    <a:pt x="249544" y="58271"/>
                    <a:pt x="214626" y="43271"/>
                    <a:pt x="179220" y="43155"/>
                  </a:cubicBezTo>
                  <a:cubicBezTo>
                    <a:pt x="179046" y="43155"/>
                    <a:pt x="178872" y="43155"/>
                    <a:pt x="178698" y="43155"/>
                  </a:cubicBezTo>
                  <a:cubicBezTo>
                    <a:pt x="140996" y="43155"/>
                    <a:pt x="107330" y="57215"/>
                    <a:pt x="81310" y="83839"/>
                  </a:cubicBezTo>
                  <a:cubicBezTo>
                    <a:pt x="79697" y="85486"/>
                    <a:pt x="77041" y="85498"/>
                    <a:pt x="75405" y="83908"/>
                  </a:cubicBezTo>
                  <a:cubicBezTo>
                    <a:pt x="73758" y="82296"/>
                    <a:pt x="73723" y="79651"/>
                    <a:pt x="75335" y="78004"/>
                  </a:cubicBezTo>
                  <a:cubicBezTo>
                    <a:pt x="102957" y="49733"/>
                    <a:pt x="138687" y="34802"/>
                    <a:pt x="178698" y="34802"/>
                  </a:cubicBezTo>
                  <a:cubicBezTo>
                    <a:pt x="178884" y="34802"/>
                    <a:pt x="179070" y="34802"/>
                    <a:pt x="179255" y="34802"/>
                  </a:cubicBezTo>
                  <a:cubicBezTo>
                    <a:pt x="216865" y="34930"/>
                    <a:pt x="253941" y="50835"/>
                    <a:pt x="280983" y="78444"/>
                  </a:cubicBezTo>
                  <a:cubicBezTo>
                    <a:pt x="282607" y="80092"/>
                    <a:pt x="282572" y="82737"/>
                    <a:pt x="280925" y="84349"/>
                  </a:cubicBezTo>
                  <a:cubicBezTo>
                    <a:pt x="280101" y="85150"/>
                    <a:pt x="279045" y="85544"/>
                    <a:pt x="278001" y="85544"/>
                  </a:cubicBezTo>
                  <a:close/>
                  <a:moveTo>
                    <a:pt x="352200" y="356376"/>
                  </a:moveTo>
                  <a:lnTo>
                    <a:pt x="305797" y="356376"/>
                  </a:lnTo>
                  <a:lnTo>
                    <a:pt x="305797" y="348023"/>
                  </a:lnTo>
                  <a:lnTo>
                    <a:pt x="348023" y="348023"/>
                  </a:lnTo>
                  <a:lnTo>
                    <a:pt x="348023" y="305797"/>
                  </a:lnTo>
                  <a:lnTo>
                    <a:pt x="356388" y="305797"/>
                  </a:lnTo>
                  <a:lnTo>
                    <a:pt x="356388" y="352200"/>
                  </a:lnTo>
                  <a:cubicBezTo>
                    <a:pt x="356376" y="354508"/>
                    <a:pt x="354508" y="356376"/>
                    <a:pt x="352200" y="356376"/>
                  </a:cubicBezTo>
                  <a:close/>
                  <a:moveTo>
                    <a:pt x="50579" y="356376"/>
                  </a:moveTo>
                  <a:lnTo>
                    <a:pt x="4176" y="356376"/>
                  </a:lnTo>
                  <a:cubicBezTo>
                    <a:pt x="1868" y="356376"/>
                    <a:pt x="0" y="354508"/>
                    <a:pt x="0" y="352200"/>
                  </a:cubicBezTo>
                  <a:lnTo>
                    <a:pt x="0" y="305797"/>
                  </a:lnTo>
                  <a:lnTo>
                    <a:pt x="8353" y="305797"/>
                  </a:lnTo>
                  <a:lnTo>
                    <a:pt x="8353" y="348023"/>
                  </a:lnTo>
                  <a:lnTo>
                    <a:pt x="50579" y="348023"/>
                  </a:lnTo>
                  <a:lnTo>
                    <a:pt x="50579" y="356376"/>
                  </a:lnTo>
                  <a:close/>
                  <a:moveTo>
                    <a:pt x="356376" y="50579"/>
                  </a:moveTo>
                  <a:lnTo>
                    <a:pt x="348023" y="50579"/>
                  </a:lnTo>
                  <a:lnTo>
                    <a:pt x="348023" y="8353"/>
                  </a:lnTo>
                  <a:lnTo>
                    <a:pt x="305797" y="8353"/>
                  </a:lnTo>
                  <a:lnTo>
                    <a:pt x="305797" y="0"/>
                  </a:lnTo>
                  <a:lnTo>
                    <a:pt x="352200" y="0"/>
                  </a:lnTo>
                  <a:cubicBezTo>
                    <a:pt x="354508" y="0"/>
                    <a:pt x="356376" y="1868"/>
                    <a:pt x="356376" y="4176"/>
                  </a:cubicBezTo>
                  <a:lnTo>
                    <a:pt x="356376" y="50579"/>
                  </a:lnTo>
                  <a:close/>
                  <a:moveTo>
                    <a:pt x="8353" y="50579"/>
                  </a:moveTo>
                  <a:lnTo>
                    <a:pt x="0" y="50579"/>
                  </a:lnTo>
                  <a:lnTo>
                    <a:pt x="0" y="4176"/>
                  </a:lnTo>
                  <a:cubicBezTo>
                    <a:pt x="0" y="1868"/>
                    <a:pt x="1868" y="0"/>
                    <a:pt x="4176" y="0"/>
                  </a:cubicBezTo>
                  <a:lnTo>
                    <a:pt x="50579" y="0"/>
                  </a:lnTo>
                  <a:lnTo>
                    <a:pt x="50579" y="8353"/>
                  </a:lnTo>
                  <a:lnTo>
                    <a:pt x="8353" y="8353"/>
                  </a:lnTo>
                  <a:lnTo>
                    <a:pt x="8353" y="50579"/>
                  </a:lnTo>
                  <a:close/>
                </a:path>
              </a:pathLst>
            </a:custGeom>
            <a:solidFill>
              <a:srgbClr val="000000"/>
            </a:solidFill>
            <a:ln w="1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98EB2CB-A4C4-8FA8-83CA-989A3D10C5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598826" y="9545836"/>
              <a:ext cx="1438053" cy="1606896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43A87D26-0CA1-6FD1-74F1-68B29AA0E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9671AAB7-74F8-69B4-5058-B4C55198C3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6" name="Freeform 16">
                <a:extLst>
                  <a:ext uri="{FF2B5EF4-FFF2-40B4-BE49-F238E27FC236}">
                    <a16:creationId xmlns:a16="http://schemas.microsoft.com/office/drawing/2014/main" id="{1D4C40F3-3E0F-2260-2515-F437F34E37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7" name="Freeform 17">
                <a:extLst>
                  <a:ext uri="{FF2B5EF4-FFF2-40B4-BE49-F238E27FC236}">
                    <a16:creationId xmlns:a16="http://schemas.microsoft.com/office/drawing/2014/main" id="{75E0F86A-7CDF-30BB-4FBF-9E0482AD7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8" name="Freeform 18">
                <a:extLst>
                  <a:ext uri="{FF2B5EF4-FFF2-40B4-BE49-F238E27FC236}">
                    <a16:creationId xmlns:a16="http://schemas.microsoft.com/office/drawing/2014/main" id="{09EC91C4-2230-2929-EF8D-0F3751B21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29" name="Freeform 19">
                <a:extLst>
                  <a:ext uri="{FF2B5EF4-FFF2-40B4-BE49-F238E27FC236}">
                    <a16:creationId xmlns:a16="http://schemas.microsoft.com/office/drawing/2014/main" id="{C23B2331-B206-A146-ABE1-C7A8DCE71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3428FDF-F598-B39A-75EA-BE7A3160471F}"/>
                </a:ext>
              </a:extLst>
            </p:cNvPr>
            <p:cNvGrpSpPr/>
            <p:nvPr/>
          </p:nvGrpSpPr>
          <p:grpSpPr>
            <a:xfrm>
              <a:off x="17716977" y="3810064"/>
              <a:ext cx="3130592" cy="2387390"/>
              <a:chOff x="17716977" y="3810064"/>
              <a:chExt cx="3130592" cy="2387390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1ACEA55D-7CB6-487E-FAC0-65E80BD1CC3A}"/>
                  </a:ext>
                </a:extLst>
              </p:cNvPr>
              <p:cNvSpPr/>
              <p:nvPr/>
            </p:nvSpPr>
            <p:spPr>
              <a:xfrm>
                <a:off x="18760516" y="3810064"/>
                <a:ext cx="462580" cy="465301"/>
              </a:xfrm>
              <a:custGeom>
                <a:avLst/>
                <a:gdLst>
                  <a:gd name="connsiteX0" fmla="*/ 462581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1 w 462580"/>
                  <a:gd name="connsiteY4" fmla="*/ 232651 h 465301"/>
                  <a:gd name="connsiteX5" fmla="*/ 462581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1" y="232651"/>
                    </a:moveTo>
                    <a:cubicBezTo>
                      <a:pt x="462581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1" y="103400"/>
                      <a:pt x="462581" y="232651"/>
                    </a:cubicBezTo>
                    <a:lnTo>
                      <a:pt x="462581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B2CC863-FF4D-2CE7-11CC-E03AD3BDCD20}"/>
                  </a:ext>
                </a:extLst>
              </p:cNvPr>
              <p:cNvSpPr/>
              <p:nvPr/>
            </p:nvSpPr>
            <p:spPr>
              <a:xfrm>
                <a:off x="19341462" y="3810064"/>
                <a:ext cx="462580" cy="465301"/>
              </a:xfrm>
              <a:custGeom>
                <a:avLst/>
                <a:gdLst>
                  <a:gd name="connsiteX0" fmla="*/ 462580 w 462580"/>
                  <a:gd name="connsiteY0" fmla="*/ 232651 h 465301"/>
                  <a:gd name="connsiteX1" fmla="*/ 231290 w 462580"/>
                  <a:gd name="connsiteY1" fmla="*/ 465302 h 465301"/>
                  <a:gd name="connsiteX2" fmla="*/ 0 w 462580"/>
                  <a:gd name="connsiteY2" fmla="*/ 232651 h 465301"/>
                  <a:gd name="connsiteX3" fmla="*/ 231290 w 462580"/>
                  <a:gd name="connsiteY3" fmla="*/ 0 h 465301"/>
                  <a:gd name="connsiteX4" fmla="*/ 462580 w 462580"/>
                  <a:gd name="connsiteY4" fmla="*/ 232651 h 465301"/>
                  <a:gd name="connsiteX5" fmla="*/ 462580 w 462580"/>
                  <a:gd name="connsiteY5" fmla="*/ 232651 h 465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2580" h="465301">
                    <a:moveTo>
                      <a:pt x="462580" y="232651"/>
                    </a:moveTo>
                    <a:cubicBezTo>
                      <a:pt x="462580" y="360541"/>
                      <a:pt x="359180" y="465302"/>
                      <a:pt x="231290" y="465302"/>
                    </a:cubicBezTo>
                    <a:cubicBezTo>
                      <a:pt x="103400" y="465302"/>
                      <a:pt x="0" y="360541"/>
                      <a:pt x="0" y="232651"/>
                    </a:cubicBezTo>
                    <a:cubicBezTo>
                      <a:pt x="0" y="104761"/>
                      <a:pt x="103400" y="0"/>
                      <a:pt x="231290" y="0"/>
                    </a:cubicBezTo>
                    <a:cubicBezTo>
                      <a:pt x="359180" y="0"/>
                      <a:pt x="462580" y="103400"/>
                      <a:pt x="462580" y="232651"/>
                    </a:cubicBezTo>
                    <a:lnTo>
                      <a:pt x="462580" y="232651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D4B1108-EE03-F01B-081F-C116211A61A5}"/>
                  </a:ext>
                </a:extLst>
              </p:cNvPr>
              <p:cNvSpPr/>
              <p:nvPr/>
            </p:nvSpPr>
            <p:spPr>
              <a:xfrm>
                <a:off x="17716977" y="4585566"/>
                <a:ext cx="1062586" cy="1145566"/>
              </a:xfrm>
              <a:custGeom>
                <a:avLst/>
                <a:gdLst>
                  <a:gd name="connsiteX0" fmla="*/ 274839 w 1062586"/>
                  <a:gd name="connsiteY0" fmla="*/ 349656 h 1145566"/>
                  <a:gd name="connsiteX1" fmla="*/ 1062586 w 1062586"/>
                  <a:gd name="connsiteY1" fmla="*/ 0 h 1145566"/>
                  <a:gd name="connsiteX2" fmla="*/ 797283 w 1062586"/>
                  <a:gd name="connsiteY2" fmla="*/ 846250 h 1145566"/>
                  <a:gd name="connsiteX3" fmla="*/ 405450 w 1062586"/>
                  <a:gd name="connsiteY3" fmla="*/ 1145567 h 1145566"/>
                  <a:gd name="connsiteX4" fmla="*/ 12 w 1062586"/>
                  <a:gd name="connsiteY4" fmla="*/ 738768 h 1145566"/>
                  <a:gd name="connsiteX5" fmla="*/ 274839 w 1062586"/>
                  <a:gd name="connsiteY5" fmla="*/ 349656 h 1145566"/>
                  <a:gd name="connsiteX6" fmla="*/ 274839 w 1062586"/>
                  <a:gd name="connsiteY6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2586" h="1145566">
                    <a:moveTo>
                      <a:pt x="274839" y="349656"/>
                    </a:moveTo>
                    <a:lnTo>
                      <a:pt x="1062586" y="0"/>
                    </a:lnTo>
                    <a:lnTo>
                      <a:pt x="797283" y="846250"/>
                    </a:lnTo>
                    <a:cubicBezTo>
                      <a:pt x="746943" y="997269"/>
                      <a:pt x="620414" y="1145567"/>
                      <a:pt x="405450" y="1145567"/>
                    </a:cubicBezTo>
                    <a:cubicBezTo>
                      <a:pt x="182323" y="1145567"/>
                      <a:pt x="12" y="963256"/>
                      <a:pt x="12" y="738768"/>
                    </a:cubicBezTo>
                    <a:cubicBezTo>
                      <a:pt x="-1349" y="548294"/>
                      <a:pt x="115657" y="420404"/>
                      <a:pt x="274839" y="349656"/>
                    </a:cubicBezTo>
                    <a:lnTo>
                      <a:pt x="274839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9CFDD6EF-C9E5-4ED1-28AA-4938E92B9383}"/>
                  </a:ext>
                </a:extLst>
              </p:cNvPr>
              <p:cNvSpPr/>
              <p:nvPr/>
            </p:nvSpPr>
            <p:spPr>
              <a:xfrm>
                <a:off x="19784995" y="4585566"/>
                <a:ext cx="1062574" cy="1145566"/>
              </a:xfrm>
              <a:custGeom>
                <a:avLst/>
                <a:gdLst>
                  <a:gd name="connsiteX0" fmla="*/ 787747 w 1062574"/>
                  <a:gd name="connsiteY0" fmla="*/ 349656 h 1145566"/>
                  <a:gd name="connsiteX1" fmla="*/ 0 w 1062574"/>
                  <a:gd name="connsiteY1" fmla="*/ 0 h 1145566"/>
                  <a:gd name="connsiteX2" fmla="*/ 265304 w 1062574"/>
                  <a:gd name="connsiteY2" fmla="*/ 846250 h 1145566"/>
                  <a:gd name="connsiteX3" fmla="*/ 658497 w 1062574"/>
                  <a:gd name="connsiteY3" fmla="*/ 1145567 h 1145566"/>
                  <a:gd name="connsiteX4" fmla="*/ 658497 w 1062574"/>
                  <a:gd name="connsiteY4" fmla="*/ 1145567 h 1145566"/>
                  <a:gd name="connsiteX5" fmla="*/ 1062575 w 1062574"/>
                  <a:gd name="connsiteY5" fmla="*/ 738768 h 1145566"/>
                  <a:gd name="connsiteX6" fmla="*/ 787747 w 1062574"/>
                  <a:gd name="connsiteY6" fmla="*/ 349656 h 1145566"/>
                  <a:gd name="connsiteX7" fmla="*/ 787747 w 1062574"/>
                  <a:gd name="connsiteY7" fmla="*/ 349656 h 11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2574" h="1145566">
                    <a:moveTo>
                      <a:pt x="787747" y="349656"/>
                    </a:moveTo>
                    <a:lnTo>
                      <a:pt x="0" y="0"/>
                    </a:lnTo>
                    <a:lnTo>
                      <a:pt x="265304" y="846250"/>
                    </a:lnTo>
                    <a:cubicBezTo>
                      <a:pt x="315643" y="997269"/>
                      <a:pt x="443533" y="1145567"/>
                      <a:pt x="658497" y="1145567"/>
                    </a:cubicBezTo>
                    <a:lnTo>
                      <a:pt x="658497" y="1145567"/>
                    </a:lnTo>
                    <a:cubicBezTo>
                      <a:pt x="881624" y="1145567"/>
                      <a:pt x="1062575" y="963256"/>
                      <a:pt x="1062575" y="738768"/>
                    </a:cubicBezTo>
                    <a:cubicBezTo>
                      <a:pt x="1062575" y="548294"/>
                      <a:pt x="946930" y="420404"/>
                      <a:pt x="787747" y="349656"/>
                    </a:cubicBezTo>
                    <a:lnTo>
                      <a:pt x="787747" y="349656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05AE4CA-7C4B-5076-FB77-C6BE83847AB0}"/>
                  </a:ext>
                </a:extLst>
              </p:cNvPr>
              <p:cNvSpPr/>
              <p:nvPr/>
            </p:nvSpPr>
            <p:spPr>
              <a:xfrm>
                <a:off x="18827182" y="4371963"/>
                <a:ext cx="910195" cy="291153"/>
              </a:xfrm>
              <a:custGeom>
                <a:avLst/>
                <a:gdLst>
                  <a:gd name="connsiteX0" fmla="*/ 910195 w 910195"/>
                  <a:gd name="connsiteY0" fmla="*/ 291154 h 291153"/>
                  <a:gd name="connsiteX1" fmla="*/ 454417 w 910195"/>
                  <a:gd name="connsiteY1" fmla="*/ 0 h 291153"/>
                  <a:gd name="connsiteX2" fmla="*/ 0 w 910195"/>
                  <a:gd name="connsiteY2" fmla="*/ 291154 h 291153"/>
                  <a:gd name="connsiteX3" fmla="*/ 910195 w 910195"/>
                  <a:gd name="connsiteY3" fmla="*/ 291154 h 29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0195" h="291153">
                    <a:moveTo>
                      <a:pt x="910195" y="291154"/>
                    </a:moveTo>
                    <a:cubicBezTo>
                      <a:pt x="829924" y="119727"/>
                      <a:pt x="655776" y="0"/>
                      <a:pt x="454417" y="0"/>
                    </a:cubicBezTo>
                    <a:cubicBezTo>
                      <a:pt x="253059" y="0"/>
                      <a:pt x="80271" y="119727"/>
                      <a:pt x="0" y="291154"/>
                    </a:cubicBezTo>
                    <a:lnTo>
                      <a:pt x="910195" y="291154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F87C040-83BA-A90C-F578-05A5E8CA7CB0}"/>
                  </a:ext>
                </a:extLst>
              </p:cNvPr>
              <p:cNvSpPr/>
              <p:nvPr/>
            </p:nvSpPr>
            <p:spPr>
              <a:xfrm>
                <a:off x="18779563" y="4897128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C867717-2B87-90DF-344C-C944B2F0E933}"/>
                  </a:ext>
                </a:extLst>
              </p:cNvPr>
              <p:cNvSpPr/>
              <p:nvPr/>
            </p:nvSpPr>
            <p:spPr>
              <a:xfrm>
                <a:off x="18779563" y="5401884"/>
                <a:ext cx="1005432" cy="270745"/>
              </a:xfrm>
              <a:custGeom>
                <a:avLst/>
                <a:gdLst>
                  <a:gd name="connsiteX0" fmla="*/ 1005432 w 1005432"/>
                  <a:gd name="connsiteY0" fmla="*/ 270746 h 270745"/>
                  <a:gd name="connsiteX1" fmla="*/ 0 w 1005432"/>
                  <a:gd name="connsiteY1" fmla="*/ 270746 h 270745"/>
                  <a:gd name="connsiteX2" fmla="*/ 0 w 1005432"/>
                  <a:gd name="connsiteY2" fmla="*/ 0 h 270745"/>
                  <a:gd name="connsiteX3" fmla="*/ 1005432 w 1005432"/>
                  <a:gd name="connsiteY3" fmla="*/ 0 h 27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5432" h="270745">
                    <a:moveTo>
                      <a:pt x="1005432" y="270746"/>
                    </a:moveTo>
                    <a:lnTo>
                      <a:pt x="0" y="270746"/>
                    </a:lnTo>
                    <a:lnTo>
                      <a:pt x="0" y="0"/>
                    </a:lnTo>
                    <a:lnTo>
                      <a:pt x="1005432" y="0"/>
                    </a:lnTo>
                    <a:close/>
                  </a:path>
                </a:pathLst>
              </a:custGeom>
              <a:solidFill>
                <a:srgbClr val="0F62FE"/>
              </a:solidFill>
              <a:ln w="13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grpSp>
            <p:nvGrpSpPr>
              <p:cNvPr id="21" name="Graphic 50">
                <a:extLst>
                  <a:ext uri="{FF2B5EF4-FFF2-40B4-BE49-F238E27FC236}">
                    <a16:creationId xmlns:a16="http://schemas.microsoft.com/office/drawing/2014/main" id="{28C0C6A0-C7D6-D8CB-3574-F1D697189D1D}"/>
                  </a:ext>
                </a:extLst>
              </p:cNvPr>
              <p:cNvGrpSpPr/>
              <p:nvPr/>
            </p:nvGrpSpPr>
            <p:grpSpPr>
              <a:xfrm>
                <a:off x="18827236" y="5906301"/>
                <a:ext cx="910195" cy="291153"/>
                <a:chOff x="18827236" y="5906301"/>
                <a:chExt cx="910195" cy="291153"/>
              </a:xfrm>
              <a:solidFill>
                <a:srgbClr val="0F62FE"/>
              </a:solidFill>
            </p:grpSpPr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02B5997E-B7F2-FED9-A284-E02DF9974B6E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5"/>
                </a:p>
              </p:txBody>
            </p:sp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F42F19BE-2813-D96A-A013-7F383BAC1DBF}"/>
                    </a:ext>
                  </a:extLst>
                </p:cNvPr>
                <p:cNvSpPr/>
                <p:nvPr/>
              </p:nvSpPr>
              <p:spPr>
                <a:xfrm>
                  <a:off x="18827236" y="5906301"/>
                  <a:ext cx="910195" cy="291153"/>
                </a:xfrm>
                <a:custGeom>
                  <a:avLst/>
                  <a:gdLst>
                    <a:gd name="connsiteX0" fmla="*/ 910395 w 910195"/>
                    <a:gd name="connsiteY0" fmla="*/ 113 h 291153"/>
                    <a:gd name="connsiteX1" fmla="*/ 455978 w 910195"/>
                    <a:gd name="connsiteY1" fmla="*/ 291266 h 291153"/>
                    <a:gd name="connsiteX2" fmla="*/ 200 w 910195"/>
                    <a:gd name="connsiteY2" fmla="*/ 113 h 291153"/>
                    <a:gd name="connsiteX3" fmla="*/ 910395 w 910195"/>
                    <a:gd name="connsiteY3" fmla="*/ 113 h 29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10195" h="291153">
                      <a:moveTo>
                        <a:pt x="910395" y="113"/>
                      </a:moveTo>
                      <a:cubicBezTo>
                        <a:pt x="830124" y="171540"/>
                        <a:pt x="657336" y="291266"/>
                        <a:pt x="455978" y="291266"/>
                      </a:cubicBezTo>
                      <a:cubicBezTo>
                        <a:pt x="254619" y="291266"/>
                        <a:pt x="80471" y="171540"/>
                        <a:pt x="200" y="113"/>
                      </a:cubicBezTo>
                      <a:lnTo>
                        <a:pt x="910395" y="113"/>
                      </a:lnTo>
                      <a:close/>
                    </a:path>
                  </a:pathLst>
                </a:custGeom>
                <a:solidFill>
                  <a:srgbClr val="0F62FE"/>
                </a:solidFill>
                <a:ln w="13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675"/>
                </a:p>
              </p:txBody>
            </p:sp>
          </p:grpSp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F5416425-C1CF-E64F-F937-86C7D3C1AC76}"/>
                </a:ext>
              </a:extLst>
            </p:cNvPr>
            <p:cNvSpPr/>
            <p:nvPr/>
          </p:nvSpPr>
          <p:spPr bwMode="auto">
            <a:xfrm>
              <a:off x="16137165" y="9556509"/>
              <a:ext cx="3164957" cy="1593373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32" name="Footer Placeholder 1">
            <a:extLst>
              <a:ext uri="{FF2B5EF4-FFF2-40B4-BE49-F238E27FC236}">
                <a16:creationId xmlns:a16="http://schemas.microsoft.com/office/drawing/2014/main" id="{CFB8F54E-D02B-B808-A8D0-C3C3930BB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0526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 illustration 2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74EAC21-8107-D434-5364-2B1179E9302A}"/>
              </a:ext>
            </a:extLst>
          </p:cNvPr>
          <p:cNvGrpSpPr/>
          <p:nvPr userDrawn="1"/>
        </p:nvGrpSpPr>
        <p:grpSpPr>
          <a:xfrm>
            <a:off x="7673657" y="782414"/>
            <a:ext cx="4231043" cy="5293175"/>
            <a:chOff x="15349314" y="2961244"/>
            <a:chExt cx="6905829" cy="863829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91CFAF2-84BC-7F20-45AE-AFEFC8E637A5}"/>
                </a:ext>
              </a:extLst>
            </p:cNvPr>
            <p:cNvGrpSpPr/>
            <p:nvPr/>
          </p:nvGrpSpPr>
          <p:grpSpPr>
            <a:xfrm>
              <a:off x="15349314" y="8148533"/>
              <a:ext cx="1733550" cy="1740213"/>
              <a:chOff x="15349314" y="8148533"/>
              <a:chExt cx="1733550" cy="1740213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1AA168D-5BD9-B664-71E2-7744E8031929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87635614-5C0E-9F3D-4BF5-A6C631BA86B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20CAF18-9186-DE49-A85A-DCBCAFDEB72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099D6F34-9797-3B94-2511-A50E798A64D7}"/>
                </a:ext>
              </a:extLst>
            </p:cNvPr>
            <p:cNvSpPr/>
            <p:nvPr/>
          </p:nvSpPr>
          <p:spPr bwMode="auto">
            <a:xfrm rot="10800000">
              <a:off x="17073339" y="8156150"/>
              <a:ext cx="1714706" cy="1714706"/>
            </a:xfrm>
            <a:prstGeom prst="chevron">
              <a:avLst/>
            </a:prstGeom>
            <a:solidFill>
              <a:schemeClr val="accent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D2CDA0EB-EDC3-60F7-6A0C-10AEBA48A7CD}"/>
                </a:ext>
              </a:extLst>
            </p:cNvPr>
            <p:cNvSpPr/>
            <p:nvPr/>
          </p:nvSpPr>
          <p:spPr bwMode="auto">
            <a:xfrm rot="16200000">
              <a:off x="17933124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09F49286-A14C-94F0-4FD3-65BA1B0A0564}"/>
                </a:ext>
              </a:extLst>
            </p:cNvPr>
            <p:cNvSpPr/>
            <p:nvPr/>
          </p:nvSpPr>
          <p:spPr bwMode="auto">
            <a:xfrm rot="16200000">
              <a:off x="19666673" y="9011072"/>
              <a:ext cx="3443391" cy="1733549"/>
            </a:xfrm>
            <a:prstGeom prst="triangle">
              <a:avLst/>
            </a:prstGeom>
            <a:solidFill>
              <a:srgbClr val="6FDC8C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7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35" name="Graphic 10">
              <a:extLst>
                <a:ext uri="{FF2B5EF4-FFF2-40B4-BE49-F238E27FC236}">
                  <a16:creationId xmlns:a16="http://schemas.microsoft.com/office/drawing/2014/main" id="{2F5E9458-0EE8-FDEF-2B7B-282F6908251B}"/>
                </a:ext>
              </a:extLst>
            </p:cNvPr>
            <p:cNvSpPr/>
            <p:nvPr/>
          </p:nvSpPr>
          <p:spPr>
            <a:xfrm>
              <a:off x="21393114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6" name="Graphic 10">
              <a:extLst>
                <a:ext uri="{FF2B5EF4-FFF2-40B4-BE49-F238E27FC236}">
                  <a16:creationId xmlns:a16="http://schemas.microsoft.com/office/drawing/2014/main" id="{A63BD186-B314-C0A9-BEE8-C38F637367A0}"/>
                </a:ext>
              </a:extLst>
            </p:cNvPr>
            <p:cNvSpPr/>
            <p:nvPr/>
          </p:nvSpPr>
          <p:spPr>
            <a:xfrm>
              <a:off x="20531120" y="6419190"/>
              <a:ext cx="862029" cy="1724058"/>
            </a:xfrm>
            <a:custGeom>
              <a:avLst/>
              <a:gdLst>
                <a:gd name="connsiteX0" fmla="*/ 0 w 2862262"/>
                <a:gd name="connsiteY0" fmla="*/ 2862263 h 5724525"/>
                <a:gd name="connsiteX1" fmla="*/ 2862263 w 2862262"/>
                <a:gd name="connsiteY1" fmla="*/ 5724525 h 5724525"/>
                <a:gd name="connsiteX2" fmla="*/ 2862263 w 2862262"/>
                <a:gd name="connsiteY2" fmla="*/ 0 h 5724525"/>
                <a:gd name="connsiteX3" fmla="*/ 0 w 2862262"/>
                <a:gd name="connsiteY3" fmla="*/ 2862263 h 572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62262" h="5724525">
                  <a:moveTo>
                    <a:pt x="0" y="2862263"/>
                  </a:moveTo>
                  <a:cubicBezTo>
                    <a:pt x="0" y="4443413"/>
                    <a:pt x="1281113" y="5724525"/>
                    <a:pt x="2862263" y="5724525"/>
                  </a:cubicBezTo>
                  <a:lnTo>
                    <a:pt x="2862263" y="0"/>
                  </a:lnTo>
                  <a:cubicBezTo>
                    <a:pt x="1281113" y="0"/>
                    <a:pt x="0" y="1281113"/>
                    <a:pt x="0" y="28622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sp>
          <p:nvSpPr>
            <p:cNvPr id="37" name="Freeform 94">
              <a:extLst>
                <a:ext uri="{FF2B5EF4-FFF2-40B4-BE49-F238E27FC236}">
                  <a16:creationId xmlns:a16="http://schemas.microsoft.com/office/drawing/2014/main" id="{AF95DBD1-3F5E-0F81-A667-6AC8B287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88045" y="2961244"/>
              <a:ext cx="3443392" cy="3443392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675"/>
            </a:p>
          </p:txBody>
        </p:sp>
        <p:sp>
          <p:nvSpPr>
            <p:cNvPr id="38" name="Graphic 15">
              <a:extLst>
                <a:ext uri="{FF2B5EF4-FFF2-40B4-BE49-F238E27FC236}">
                  <a16:creationId xmlns:a16="http://schemas.microsoft.com/office/drawing/2014/main" id="{3233263B-DC50-DFD6-1555-951BB05565CD}"/>
                </a:ext>
              </a:extLst>
            </p:cNvPr>
            <p:cNvSpPr/>
            <p:nvPr/>
          </p:nvSpPr>
          <p:spPr>
            <a:xfrm>
              <a:off x="18795178" y="6419190"/>
              <a:ext cx="1733550" cy="1733550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C31CA7A0-E1EA-CC28-464A-48C141E3A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9BCAF19F-1CE8-B5CA-60ED-FA856519E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7200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3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1549E4-DE64-84A7-B380-3A8726804912}"/>
              </a:ext>
            </a:extLst>
          </p:cNvPr>
          <p:cNvGrpSpPr/>
          <p:nvPr userDrawn="1"/>
        </p:nvGrpSpPr>
        <p:grpSpPr>
          <a:xfrm>
            <a:off x="7614247" y="566935"/>
            <a:ext cx="4286485" cy="5724131"/>
            <a:chOff x="9040276" y="4321637"/>
            <a:chExt cx="4881191" cy="651744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05B46A4-470E-76F3-D85F-4ADF7C970EF3}"/>
                </a:ext>
              </a:extLst>
            </p:cNvPr>
            <p:cNvGrpSpPr/>
            <p:nvPr/>
          </p:nvGrpSpPr>
          <p:grpSpPr>
            <a:xfrm>
              <a:off x="10564253" y="4321637"/>
              <a:ext cx="3195289" cy="3207570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1F28622-E9D5-B245-0CE7-B8F4DA51DB43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86D64841-0D08-B7D0-1F60-CE3B7FB86FAB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7EF55BC-A1AE-39AC-069B-DD57829B8B1C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sp>
          <p:nvSpPr>
            <p:cNvPr id="7" name="Freeform 94">
              <a:extLst>
                <a:ext uri="{FF2B5EF4-FFF2-40B4-BE49-F238E27FC236}">
                  <a16:creationId xmlns:a16="http://schemas.microsoft.com/office/drawing/2014/main" id="{ABEB5656-74F4-9FD9-DC66-2BEC97095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46131" y="8963746"/>
              <a:ext cx="1875336" cy="1875336"/>
            </a:xfrm>
            <a:custGeom>
              <a:avLst/>
              <a:gdLst>
                <a:gd name="T0" fmla="*/ 656 w 1614"/>
                <a:gd name="T1" fmla="*/ 1464 h 1614"/>
                <a:gd name="T2" fmla="*/ 787 w 1614"/>
                <a:gd name="T3" fmla="*/ 1070 h 1614"/>
                <a:gd name="T4" fmla="*/ 360 w 1614"/>
                <a:gd name="T5" fmla="*/ 983 h 1614"/>
                <a:gd name="T6" fmla="*/ 360 w 1614"/>
                <a:gd name="T7" fmla="*/ 263 h 1614"/>
                <a:gd name="T8" fmla="*/ 859 w 1614"/>
                <a:gd name="T9" fmla="*/ 0 h 1614"/>
                <a:gd name="T10" fmla="*/ 1358 w 1614"/>
                <a:gd name="T11" fmla="*/ 473 h 1614"/>
                <a:gd name="T12" fmla="*/ 1358 w 1614"/>
                <a:gd name="T13" fmla="*/ 983 h 1614"/>
                <a:gd name="T14" fmla="*/ 1227 w 1614"/>
                <a:gd name="T15" fmla="*/ 946 h 1614"/>
                <a:gd name="T16" fmla="*/ 1576 w 1614"/>
                <a:gd name="T17" fmla="*/ 728 h 1614"/>
                <a:gd name="T18" fmla="*/ 1332 w 1614"/>
                <a:gd name="T19" fmla="*/ 511 h 1614"/>
                <a:gd name="T20" fmla="*/ 859 w 1614"/>
                <a:gd name="T21" fmla="*/ 38 h 1614"/>
                <a:gd name="T22" fmla="*/ 437 w 1614"/>
                <a:gd name="T23" fmla="*/ 300 h 1614"/>
                <a:gd name="T24" fmla="*/ 38 w 1614"/>
                <a:gd name="T25" fmla="*/ 623 h 1614"/>
                <a:gd name="T26" fmla="*/ 701 w 1614"/>
                <a:gd name="T27" fmla="*/ 946 h 1614"/>
                <a:gd name="T28" fmla="*/ 826 w 1614"/>
                <a:gd name="T29" fmla="*/ 1315 h 1614"/>
                <a:gd name="T30" fmla="*/ 807 w 1614"/>
                <a:gd name="T31" fmla="*/ 1614 h 1614"/>
                <a:gd name="T32" fmla="*/ 694 w 1614"/>
                <a:gd name="T33" fmla="*/ 1464 h 1614"/>
                <a:gd name="T34" fmla="*/ 919 w 1614"/>
                <a:gd name="T35" fmla="*/ 1464 h 1614"/>
                <a:gd name="T36" fmla="*/ 1332 w 1614"/>
                <a:gd name="T37" fmla="*/ 1456 h 1614"/>
                <a:gd name="T38" fmla="*/ 1313 w 1614"/>
                <a:gd name="T39" fmla="*/ 1437 h 1614"/>
                <a:gd name="T40" fmla="*/ 1122 w 1614"/>
                <a:gd name="T41" fmla="*/ 1299 h 1614"/>
                <a:gd name="T42" fmla="*/ 998 w 1614"/>
                <a:gd name="T43" fmla="*/ 877 h 1614"/>
                <a:gd name="T44" fmla="*/ 1017 w 1614"/>
                <a:gd name="T45" fmla="*/ 578 h 1614"/>
                <a:gd name="T46" fmla="*/ 1036 w 1614"/>
                <a:gd name="T47" fmla="*/ 877 h 1614"/>
                <a:gd name="T48" fmla="*/ 1122 w 1614"/>
                <a:gd name="T49" fmla="*/ 1261 h 1614"/>
                <a:gd name="T50" fmla="*/ 1313 w 1614"/>
                <a:gd name="T51" fmla="*/ 1122 h 1614"/>
                <a:gd name="T52" fmla="*/ 1342 w 1614"/>
                <a:gd name="T53" fmla="*/ 1106 h 1614"/>
                <a:gd name="T54" fmla="*/ 1614 w 1614"/>
                <a:gd name="T55" fmla="*/ 1280 h 1614"/>
                <a:gd name="T56" fmla="*/ 1342 w 1614"/>
                <a:gd name="T57" fmla="*/ 1454 h 1614"/>
                <a:gd name="T58" fmla="*/ 1351 w 1614"/>
                <a:gd name="T59" fmla="*/ 1156 h 1614"/>
                <a:gd name="T60" fmla="*/ 1558 w 1614"/>
                <a:gd name="T61" fmla="*/ 1280 h 1614"/>
                <a:gd name="T62" fmla="*/ 1017 w 1614"/>
                <a:gd name="T63" fmla="*/ 616 h 1614"/>
                <a:gd name="T64" fmla="*/ 1017 w 1614"/>
                <a:gd name="T65" fmla="*/ 841 h 1614"/>
                <a:gd name="T66" fmla="*/ 1017 w 1614"/>
                <a:gd name="T67" fmla="*/ 616 h 1614"/>
                <a:gd name="T68" fmla="*/ 19 w 1614"/>
                <a:gd name="T69" fmla="*/ 1430 h 1614"/>
                <a:gd name="T70" fmla="*/ 0 w 1614"/>
                <a:gd name="T71" fmla="*/ 1148 h 1614"/>
                <a:gd name="T72" fmla="*/ 281 w 1614"/>
                <a:gd name="T73" fmla="*/ 1130 h 1614"/>
                <a:gd name="T74" fmla="*/ 300 w 1614"/>
                <a:gd name="T75" fmla="*/ 1261 h 1614"/>
                <a:gd name="T76" fmla="*/ 578 w 1614"/>
                <a:gd name="T77" fmla="*/ 1175 h 1614"/>
                <a:gd name="T78" fmla="*/ 615 w 1614"/>
                <a:gd name="T79" fmla="*/ 1070 h 1614"/>
                <a:gd name="T80" fmla="*/ 491 w 1614"/>
                <a:gd name="T81" fmla="*/ 1299 h 1614"/>
                <a:gd name="T82" fmla="*/ 300 w 1614"/>
                <a:gd name="T83" fmla="*/ 1411 h 1614"/>
                <a:gd name="T84" fmla="*/ 38 w 1614"/>
                <a:gd name="T85" fmla="*/ 1392 h 1614"/>
                <a:gd name="T86" fmla="*/ 262 w 1614"/>
                <a:gd name="T87" fmla="*/ 1167 h 1614"/>
                <a:gd name="T88" fmla="*/ 38 w 1614"/>
                <a:gd name="T89" fmla="*/ 1392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4" h="1614">
                  <a:moveTo>
                    <a:pt x="807" y="1614"/>
                  </a:moveTo>
                  <a:cubicBezTo>
                    <a:pt x="724" y="1614"/>
                    <a:pt x="656" y="1547"/>
                    <a:pt x="656" y="1464"/>
                  </a:cubicBezTo>
                  <a:cubicBezTo>
                    <a:pt x="656" y="1387"/>
                    <a:pt x="714" y="1324"/>
                    <a:pt x="788" y="1315"/>
                  </a:cubicBezTo>
                  <a:cubicBezTo>
                    <a:pt x="787" y="1070"/>
                    <a:pt x="787" y="1070"/>
                    <a:pt x="787" y="1070"/>
                  </a:cubicBezTo>
                  <a:cubicBezTo>
                    <a:pt x="787" y="1022"/>
                    <a:pt x="748" y="983"/>
                    <a:pt x="701" y="983"/>
                  </a:cubicBezTo>
                  <a:cubicBezTo>
                    <a:pt x="360" y="983"/>
                    <a:pt x="360" y="983"/>
                    <a:pt x="360" y="983"/>
                  </a:cubicBezTo>
                  <a:cubicBezTo>
                    <a:pt x="161" y="983"/>
                    <a:pt x="0" y="822"/>
                    <a:pt x="0" y="623"/>
                  </a:cubicBezTo>
                  <a:cubicBezTo>
                    <a:pt x="0" y="424"/>
                    <a:pt x="161" y="263"/>
                    <a:pt x="360" y="263"/>
                  </a:cubicBezTo>
                  <a:cubicBezTo>
                    <a:pt x="425" y="263"/>
                    <a:pt x="425" y="263"/>
                    <a:pt x="425" y="263"/>
                  </a:cubicBezTo>
                  <a:cubicBezTo>
                    <a:pt x="511" y="100"/>
                    <a:pt x="676" y="0"/>
                    <a:pt x="859" y="0"/>
                  </a:cubicBezTo>
                  <a:cubicBezTo>
                    <a:pt x="1124" y="0"/>
                    <a:pt x="1341" y="210"/>
                    <a:pt x="1351" y="473"/>
                  </a:cubicBezTo>
                  <a:cubicBezTo>
                    <a:pt x="1358" y="473"/>
                    <a:pt x="1358" y="473"/>
                    <a:pt x="1358" y="473"/>
                  </a:cubicBezTo>
                  <a:cubicBezTo>
                    <a:pt x="1499" y="473"/>
                    <a:pt x="1614" y="587"/>
                    <a:pt x="1614" y="728"/>
                  </a:cubicBezTo>
                  <a:cubicBezTo>
                    <a:pt x="1614" y="869"/>
                    <a:pt x="1499" y="983"/>
                    <a:pt x="1358" y="983"/>
                  </a:cubicBezTo>
                  <a:cubicBezTo>
                    <a:pt x="1227" y="984"/>
                    <a:pt x="1227" y="984"/>
                    <a:pt x="1227" y="984"/>
                  </a:cubicBezTo>
                  <a:cubicBezTo>
                    <a:pt x="1227" y="946"/>
                    <a:pt x="1227" y="946"/>
                    <a:pt x="1227" y="946"/>
                  </a:cubicBezTo>
                  <a:cubicBezTo>
                    <a:pt x="1358" y="946"/>
                    <a:pt x="1358" y="946"/>
                    <a:pt x="1358" y="946"/>
                  </a:cubicBezTo>
                  <a:cubicBezTo>
                    <a:pt x="1478" y="946"/>
                    <a:pt x="1576" y="848"/>
                    <a:pt x="1576" y="728"/>
                  </a:cubicBezTo>
                  <a:cubicBezTo>
                    <a:pt x="1576" y="608"/>
                    <a:pt x="1478" y="511"/>
                    <a:pt x="1358" y="511"/>
                  </a:cubicBezTo>
                  <a:cubicBezTo>
                    <a:pt x="1332" y="511"/>
                    <a:pt x="1332" y="511"/>
                    <a:pt x="1332" y="511"/>
                  </a:cubicBezTo>
                  <a:cubicBezTo>
                    <a:pt x="1322" y="511"/>
                    <a:pt x="1313" y="502"/>
                    <a:pt x="1313" y="492"/>
                  </a:cubicBezTo>
                  <a:cubicBezTo>
                    <a:pt x="1313" y="241"/>
                    <a:pt x="1110" y="38"/>
                    <a:pt x="859" y="38"/>
                  </a:cubicBezTo>
                  <a:cubicBezTo>
                    <a:pt x="687" y="38"/>
                    <a:pt x="531" y="134"/>
                    <a:pt x="454" y="290"/>
                  </a:cubicBezTo>
                  <a:cubicBezTo>
                    <a:pt x="450" y="296"/>
                    <a:pt x="444" y="300"/>
                    <a:pt x="437" y="300"/>
                  </a:cubicBezTo>
                  <a:cubicBezTo>
                    <a:pt x="360" y="300"/>
                    <a:pt x="360" y="300"/>
                    <a:pt x="360" y="300"/>
                  </a:cubicBezTo>
                  <a:cubicBezTo>
                    <a:pt x="182" y="300"/>
                    <a:pt x="38" y="445"/>
                    <a:pt x="38" y="623"/>
                  </a:cubicBezTo>
                  <a:cubicBezTo>
                    <a:pt x="38" y="801"/>
                    <a:pt x="182" y="946"/>
                    <a:pt x="360" y="946"/>
                  </a:cubicBezTo>
                  <a:cubicBezTo>
                    <a:pt x="701" y="946"/>
                    <a:pt x="701" y="946"/>
                    <a:pt x="701" y="946"/>
                  </a:cubicBezTo>
                  <a:cubicBezTo>
                    <a:pt x="769" y="946"/>
                    <a:pt x="825" y="1001"/>
                    <a:pt x="825" y="1070"/>
                  </a:cubicBezTo>
                  <a:cubicBezTo>
                    <a:pt x="826" y="1315"/>
                    <a:pt x="826" y="1315"/>
                    <a:pt x="826" y="1315"/>
                  </a:cubicBezTo>
                  <a:cubicBezTo>
                    <a:pt x="900" y="1324"/>
                    <a:pt x="957" y="1387"/>
                    <a:pt x="957" y="1464"/>
                  </a:cubicBezTo>
                  <a:cubicBezTo>
                    <a:pt x="957" y="1547"/>
                    <a:pt x="890" y="1614"/>
                    <a:pt x="807" y="1614"/>
                  </a:cubicBezTo>
                  <a:close/>
                  <a:moveTo>
                    <a:pt x="807" y="1351"/>
                  </a:moveTo>
                  <a:cubicBezTo>
                    <a:pt x="745" y="1351"/>
                    <a:pt x="694" y="1402"/>
                    <a:pt x="694" y="1464"/>
                  </a:cubicBezTo>
                  <a:cubicBezTo>
                    <a:pt x="694" y="1526"/>
                    <a:pt x="745" y="1576"/>
                    <a:pt x="807" y="1576"/>
                  </a:cubicBezTo>
                  <a:cubicBezTo>
                    <a:pt x="869" y="1576"/>
                    <a:pt x="919" y="1526"/>
                    <a:pt x="919" y="1464"/>
                  </a:cubicBezTo>
                  <a:cubicBezTo>
                    <a:pt x="919" y="1402"/>
                    <a:pt x="869" y="1351"/>
                    <a:pt x="807" y="1351"/>
                  </a:cubicBezTo>
                  <a:close/>
                  <a:moveTo>
                    <a:pt x="1332" y="1456"/>
                  </a:moveTo>
                  <a:cubicBezTo>
                    <a:pt x="1329" y="1456"/>
                    <a:pt x="1326" y="1455"/>
                    <a:pt x="1323" y="1454"/>
                  </a:cubicBezTo>
                  <a:cubicBezTo>
                    <a:pt x="1317" y="1450"/>
                    <a:pt x="1313" y="1444"/>
                    <a:pt x="1313" y="1437"/>
                  </a:cubicBezTo>
                  <a:cubicBezTo>
                    <a:pt x="1313" y="1299"/>
                    <a:pt x="1313" y="1299"/>
                    <a:pt x="1313" y="1299"/>
                  </a:cubicBezTo>
                  <a:cubicBezTo>
                    <a:pt x="1122" y="1299"/>
                    <a:pt x="1122" y="1299"/>
                    <a:pt x="1122" y="1299"/>
                  </a:cubicBezTo>
                  <a:cubicBezTo>
                    <a:pt x="1054" y="1299"/>
                    <a:pt x="998" y="1243"/>
                    <a:pt x="998" y="1175"/>
                  </a:cubicBezTo>
                  <a:cubicBezTo>
                    <a:pt x="998" y="877"/>
                    <a:pt x="998" y="877"/>
                    <a:pt x="998" y="877"/>
                  </a:cubicBezTo>
                  <a:cubicBezTo>
                    <a:pt x="924" y="868"/>
                    <a:pt x="867" y="805"/>
                    <a:pt x="867" y="728"/>
                  </a:cubicBezTo>
                  <a:cubicBezTo>
                    <a:pt x="867" y="645"/>
                    <a:pt x="934" y="578"/>
                    <a:pt x="1017" y="578"/>
                  </a:cubicBezTo>
                  <a:cubicBezTo>
                    <a:pt x="1100" y="578"/>
                    <a:pt x="1167" y="645"/>
                    <a:pt x="1167" y="728"/>
                  </a:cubicBezTo>
                  <a:cubicBezTo>
                    <a:pt x="1167" y="805"/>
                    <a:pt x="1110" y="868"/>
                    <a:pt x="1036" y="877"/>
                  </a:cubicBezTo>
                  <a:cubicBezTo>
                    <a:pt x="1036" y="1175"/>
                    <a:pt x="1036" y="1175"/>
                    <a:pt x="1036" y="1175"/>
                  </a:cubicBezTo>
                  <a:cubicBezTo>
                    <a:pt x="1036" y="1222"/>
                    <a:pt x="1074" y="1261"/>
                    <a:pt x="1122" y="1261"/>
                  </a:cubicBezTo>
                  <a:cubicBezTo>
                    <a:pt x="1313" y="1261"/>
                    <a:pt x="1313" y="1261"/>
                    <a:pt x="1313" y="1261"/>
                  </a:cubicBezTo>
                  <a:cubicBezTo>
                    <a:pt x="1313" y="1122"/>
                    <a:pt x="1313" y="1122"/>
                    <a:pt x="1313" y="1122"/>
                  </a:cubicBezTo>
                  <a:cubicBezTo>
                    <a:pt x="1313" y="1115"/>
                    <a:pt x="1317" y="1109"/>
                    <a:pt x="1323" y="1106"/>
                  </a:cubicBezTo>
                  <a:cubicBezTo>
                    <a:pt x="1329" y="1102"/>
                    <a:pt x="1336" y="1102"/>
                    <a:pt x="1342" y="1106"/>
                  </a:cubicBezTo>
                  <a:cubicBezTo>
                    <a:pt x="1604" y="1264"/>
                    <a:pt x="1604" y="1264"/>
                    <a:pt x="1604" y="1264"/>
                  </a:cubicBezTo>
                  <a:cubicBezTo>
                    <a:pt x="1610" y="1267"/>
                    <a:pt x="1614" y="1273"/>
                    <a:pt x="1614" y="1280"/>
                  </a:cubicBezTo>
                  <a:cubicBezTo>
                    <a:pt x="1614" y="1286"/>
                    <a:pt x="1610" y="1293"/>
                    <a:pt x="1604" y="1296"/>
                  </a:cubicBezTo>
                  <a:cubicBezTo>
                    <a:pt x="1342" y="1454"/>
                    <a:pt x="1342" y="1454"/>
                    <a:pt x="1342" y="1454"/>
                  </a:cubicBezTo>
                  <a:cubicBezTo>
                    <a:pt x="1339" y="1455"/>
                    <a:pt x="1335" y="1456"/>
                    <a:pt x="1332" y="1456"/>
                  </a:cubicBezTo>
                  <a:close/>
                  <a:moveTo>
                    <a:pt x="1351" y="1156"/>
                  </a:moveTo>
                  <a:cubicBezTo>
                    <a:pt x="1351" y="1404"/>
                    <a:pt x="1351" y="1404"/>
                    <a:pt x="1351" y="1404"/>
                  </a:cubicBezTo>
                  <a:cubicBezTo>
                    <a:pt x="1558" y="1280"/>
                    <a:pt x="1558" y="1280"/>
                    <a:pt x="1558" y="1280"/>
                  </a:cubicBezTo>
                  <a:lnTo>
                    <a:pt x="1351" y="1156"/>
                  </a:lnTo>
                  <a:close/>
                  <a:moveTo>
                    <a:pt x="1017" y="616"/>
                  </a:moveTo>
                  <a:cubicBezTo>
                    <a:pt x="955" y="616"/>
                    <a:pt x="904" y="666"/>
                    <a:pt x="904" y="728"/>
                  </a:cubicBezTo>
                  <a:cubicBezTo>
                    <a:pt x="904" y="790"/>
                    <a:pt x="955" y="841"/>
                    <a:pt x="1017" y="841"/>
                  </a:cubicBezTo>
                  <a:cubicBezTo>
                    <a:pt x="1079" y="841"/>
                    <a:pt x="1129" y="790"/>
                    <a:pt x="1129" y="728"/>
                  </a:cubicBezTo>
                  <a:cubicBezTo>
                    <a:pt x="1129" y="666"/>
                    <a:pt x="1079" y="616"/>
                    <a:pt x="1017" y="616"/>
                  </a:cubicBezTo>
                  <a:close/>
                  <a:moveTo>
                    <a:pt x="281" y="1430"/>
                  </a:moveTo>
                  <a:cubicBezTo>
                    <a:pt x="19" y="1430"/>
                    <a:pt x="19" y="1430"/>
                    <a:pt x="19" y="1430"/>
                  </a:cubicBezTo>
                  <a:cubicBezTo>
                    <a:pt x="8" y="1430"/>
                    <a:pt x="0" y="1422"/>
                    <a:pt x="0" y="1411"/>
                  </a:cubicBezTo>
                  <a:cubicBezTo>
                    <a:pt x="0" y="1148"/>
                    <a:pt x="0" y="1148"/>
                    <a:pt x="0" y="1148"/>
                  </a:cubicBezTo>
                  <a:cubicBezTo>
                    <a:pt x="0" y="1138"/>
                    <a:pt x="8" y="1130"/>
                    <a:pt x="19" y="1130"/>
                  </a:cubicBezTo>
                  <a:cubicBezTo>
                    <a:pt x="281" y="1130"/>
                    <a:pt x="281" y="1130"/>
                    <a:pt x="281" y="1130"/>
                  </a:cubicBezTo>
                  <a:cubicBezTo>
                    <a:pt x="292" y="1130"/>
                    <a:pt x="300" y="1138"/>
                    <a:pt x="300" y="1148"/>
                  </a:cubicBezTo>
                  <a:cubicBezTo>
                    <a:pt x="300" y="1261"/>
                    <a:pt x="300" y="1261"/>
                    <a:pt x="300" y="1261"/>
                  </a:cubicBezTo>
                  <a:cubicBezTo>
                    <a:pt x="491" y="1261"/>
                    <a:pt x="491" y="1261"/>
                    <a:pt x="491" y="1261"/>
                  </a:cubicBezTo>
                  <a:cubicBezTo>
                    <a:pt x="539" y="1261"/>
                    <a:pt x="578" y="1222"/>
                    <a:pt x="578" y="1175"/>
                  </a:cubicBezTo>
                  <a:cubicBezTo>
                    <a:pt x="578" y="1070"/>
                    <a:pt x="578" y="1070"/>
                    <a:pt x="578" y="1070"/>
                  </a:cubicBezTo>
                  <a:cubicBezTo>
                    <a:pt x="615" y="1070"/>
                    <a:pt x="615" y="1070"/>
                    <a:pt x="615" y="1070"/>
                  </a:cubicBezTo>
                  <a:cubicBezTo>
                    <a:pt x="615" y="1175"/>
                    <a:pt x="615" y="1175"/>
                    <a:pt x="615" y="1175"/>
                  </a:cubicBezTo>
                  <a:cubicBezTo>
                    <a:pt x="615" y="1243"/>
                    <a:pt x="560" y="1299"/>
                    <a:pt x="491" y="1299"/>
                  </a:cubicBezTo>
                  <a:cubicBezTo>
                    <a:pt x="300" y="1299"/>
                    <a:pt x="300" y="1299"/>
                    <a:pt x="300" y="1299"/>
                  </a:cubicBezTo>
                  <a:cubicBezTo>
                    <a:pt x="300" y="1411"/>
                    <a:pt x="300" y="1411"/>
                    <a:pt x="300" y="1411"/>
                  </a:cubicBezTo>
                  <a:cubicBezTo>
                    <a:pt x="300" y="1422"/>
                    <a:pt x="292" y="1430"/>
                    <a:pt x="281" y="1430"/>
                  </a:cubicBezTo>
                  <a:close/>
                  <a:moveTo>
                    <a:pt x="38" y="1392"/>
                  </a:moveTo>
                  <a:cubicBezTo>
                    <a:pt x="262" y="1392"/>
                    <a:pt x="262" y="1392"/>
                    <a:pt x="262" y="1392"/>
                  </a:cubicBezTo>
                  <a:cubicBezTo>
                    <a:pt x="262" y="1167"/>
                    <a:pt x="262" y="1167"/>
                    <a:pt x="262" y="1167"/>
                  </a:cubicBezTo>
                  <a:cubicBezTo>
                    <a:pt x="38" y="1167"/>
                    <a:pt x="38" y="1167"/>
                    <a:pt x="38" y="1167"/>
                  </a:cubicBezTo>
                  <a:lnTo>
                    <a:pt x="38" y="13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uk-UA" sz="675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2AEBA3D-2E1E-3CD0-6047-AD29970D8269}"/>
                </a:ext>
              </a:extLst>
            </p:cNvPr>
            <p:cNvGrpSpPr/>
            <p:nvPr/>
          </p:nvGrpSpPr>
          <p:grpSpPr>
            <a:xfrm>
              <a:off x="10549225" y="7534105"/>
              <a:ext cx="1611649" cy="1600628"/>
              <a:chOff x="18788045" y="8156151"/>
              <a:chExt cx="3467098" cy="3443391"/>
            </a:xfrm>
          </p:grpSpPr>
          <p:sp>
            <p:nvSpPr>
              <p:cNvPr id="10" name="Isosceles Triangle 9">
                <a:extLst>
                  <a:ext uri="{FF2B5EF4-FFF2-40B4-BE49-F238E27FC236}">
                    <a16:creationId xmlns:a16="http://schemas.microsoft.com/office/drawing/2014/main" id="{30B024AE-924C-5013-BFC4-A23193344D38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8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1" name="Isosceles Triangle 10">
                <a:extLst>
                  <a:ext uri="{FF2B5EF4-FFF2-40B4-BE49-F238E27FC236}">
                    <a16:creationId xmlns:a16="http://schemas.microsoft.com/office/drawing/2014/main" id="{CC621DE7-0C86-3370-8254-DCA20D2B66DF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8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4FD813B-98FF-5D22-79E3-E42156204806}"/>
                </a:ext>
              </a:extLst>
            </p:cNvPr>
            <p:cNvSpPr/>
            <p:nvPr/>
          </p:nvSpPr>
          <p:spPr>
            <a:xfrm>
              <a:off x="9040276" y="7421599"/>
              <a:ext cx="1304613" cy="176685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497DADEA-7960-658B-3101-5BFD1C18F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9BF57657-A79F-9678-6440-F135F005ED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8120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, cyan background, illustration 4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BCFA4843-2EEB-F757-826B-7080CBD95F0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842CBF4-D34E-F8F5-CD06-504A7FCC7FB3}"/>
              </a:ext>
            </a:extLst>
          </p:cNvPr>
          <p:cNvGrpSpPr/>
          <p:nvPr userDrawn="1"/>
        </p:nvGrpSpPr>
        <p:grpSpPr>
          <a:xfrm>
            <a:off x="7634565" y="308329"/>
            <a:ext cx="4259863" cy="5655323"/>
            <a:chOff x="14749847" y="1666875"/>
            <a:chExt cx="7545926" cy="1001654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28DD47C-6174-1B6C-4A95-602C8EDC721E}"/>
                </a:ext>
              </a:extLst>
            </p:cNvPr>
            <p:cNvGrpSpPr/>
            <p:nvPr/>
          </p:nvGrpSpPr>
          <p:grpSpPr>
            <a:xfrm>
              <a:off x="19717931" y="9127539"/>
              <a:ext cx="2546091" cy="2555876"/>
              <a:chOff x="15349314" y="8148533"/>
              <a:chExt cx="1733550" cy="1740213"/>
            </a:xfrm>
            <a:solidFill>
              <a:schemeClr val="accent1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4FE2C1B-881E-7856-4164-5F06D6DC55ED}"/>
                  </a:ext>
                </a:extLst>
              </p:cNvPr>
              <p:cNvSpPr/>
              <p:nvPr/>
            </p:nvSpPr>
            <p:spPr>
              <a:xfrm>
                <a:off x="15999871" y="9073400"/>
                <a:ext cx="432434" cy="434346"/>
              </a:xfrm>
              <a:custGeom>
                <a:avLst/>
                <a:gdLst>
                  <a:gd name="connsiteX0" fmla="*/ 432435 w 432434"/>
                  <a:gd name="connsiteY0" fmla="*/ 217177 h 434346"/>
                  <a:gd name="connsiteX1" fmla="*/ 216217 w 432434"/>
                  <a:gd name="connsiteY1" fmla="*/ 434347 h 434346"/>
                  <a:gd name="connsiteX2" fmla="*/ 0 w 432434"/>
                  <a:gd name="connsiteY2" fmla="*/ 217177 h 434346"/>
                  <a:gd name="connsiteX3" fmla="*/ 216217 w 432434"/>
                  <a:gd name="connsiteY3" fmla="*/ 7 h 434346"/>
                  <a:gd name="connsiteX4" fmla="*/ 432435 w 432434"/>
                  <a:gd name="connsiteY4" fmla="*/ 217177 h 434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434" h="434346">
                    <a:moveTo>
                      <a:pt x="432435" y="217177"/>
                    </a:moveTo>
                    <a:cubicBezTo>
                      <a:pt x="432435" y="337192"/>
                      <a:pt x="335280" y="434347"/>
                      <a:pt x="216217" y="434347"/>
                    </a:cubicBezTo>
                    <a:cubicBezTo>
                      <a:pt x="96202" y="434347"/>
                      <a:pt x="0" y="337192"/>
                      <a:pt x="0" y="217177"/>
                    </a:cubicBezTo>
                    <a:cubicBezTo>
                      <a:pt x="0" y="97162"/>
                      <a:pt x="97155" y="7"/>
                      <a:pt x="216217" y="7"/>
                    </a:cubicBezTo>
                    <a:cubicBezTo>
                      <a:pt x="335280" y="-946"/>
                      <a:pt x="432435" y="97162"/>
                      <a:pt x="432435" y="217177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D29AD949-F11A-7C8A-6395-2EC579256AC2}"/>
                  </a:ext>
                </a:extLst>
              </p:cNvPr>
              <p:cNvSpPr/>
              <p:nvPr/>
            </p:nvSpPr>
            <p:spPr>
              <a:xfrm>
                <a:off x="15349314" y="8692407"/>
                <a:ext cx="1733550" cy="1196339"/>
              </a:xfrm>
              <a:custGeom>
                <a:avLst/>
                <a:gdLst>
                  <a:gd name="connsiteX0" fmla="*/ 866775 w 1733550"/>
                  <a:gd name="connsiteY0" fmla="*/ 1086803 h 1196339"/>
                  <a:gd name="connsiteX1" fmla="*/ 379095 w 1733550"/>
                  <a:gd name="connsiteY1" fmla="*/ 597218 h 1196339"/>
                  <a:gd name="connsiteX2" fmla="*/ 866775 w 1733550"/>
                  <a:gd name="connsiteY2" fmla="*/ 107633 h 1196339"/>
                  <a:gd name="connsiteX3" fmla="*/ 1354455 w 1733550"/>
                  <a:gd name="connsiteY3" fmla="*/ 597218 h 1196339"/>
                  <a:gd name="connsiteX4" fmla="*/ 866775 w 1733550"/>
                  <a:gd name="connsiteY4" fmla="*/ 1086803 h 1196339"/>
                  <a:gd name="connsiteX5" fmla="*/ 866775 w 1733550"/>
                  <a:gd name="connsiteY5" fmla="*/ 0 h 1196339"/>
                  <a:gd name="connsiteX6" fmla="*/ 0 w 1733550"/>
                  <a:gd name="connsiteY6" fmla="*/ 598170 h 1196339"/>
                  <a:gd name="connsiteX7" fmla="*/ 866775 w 1733550"/>
                  <a:gd name="connsiteY7" fmla="*/ 1196340 h 1196339"/>
                  <a:gd name="connsiteX8" fmla="*/ 1733550 w 1733550"/>
                  <a:gd name="connsiteY8" fmla="*/ 598170 h 1196339"/>
                  <a:gd name="connsiteX9" fmla="*/ 866775 w 1733550"/>
                  <a:gd name="connsiteY9" fmla="*/ 0 h 119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550" h="1196339">
                    <a:moveTo>
                      <a:pt x="866775" y="1086803"/>
                    </a:moveTo>
                    <a:cubicBezTo>
                      <a:pt x="597218" y="1086803"/>
                      <a:pt x="379095" y="867728"/>
                      <a:pt x="379095" y="597218"/>
                    </a:cubicBezTo>
                    <a:cubicBezTo>
                      <a:pt x="379095" y="326708"/>
                      <a:pt x="597218" y="107633"/>
                      <a:pt x="866775" y="107633"/>
                    </a:cubicBezTo>
                    <a:cubicBezTo>
                      <a:pt x="1136333" y="107633"/>
                      <a:pt x="1354455" y="326708"/>
                      <a:pt x="1354455" y="597218"/>
                    </a:cubicBezTo>
                    <a:cubicBezTo>
                      <a:pt x="1354455" y="867728"/>
                      <a:pt x="1135380" y="1086803"/>
                      <a:pt x="866775" y="1086803"/>
                    </a:cubicBezTo>
                    <a:moveTo>
                      <a:pt x="866775" y="0"/>
                    </a:moveTo>
                    <a:cubicBezTo>
                      <a:pt x="477203" y="0"/>
                      <a:pt x="142875" y="246698"/>
                      <a:pt x="0" y="598170"/>
                    </a:cubicBezTo>
                    <a:cubicBezTo>
                      <a:pt x="142875" y="949643"/>
                      <a:pt x="477203" y="1196340"/>
                      <a:pt x="866775" y="1196340"/>
                    </a:cubicBezTo>
                    <a:cubicBezTo>
                      <a:pt x="1256348" y="1196340"/>
                      <a:pt x="1590675" y="949643"/>
                      <a:pt x="1733550" y="598170"/>
                    </a:cubicBezTo>
                    <a:cubicBezTo>
                      <a:pt x="1589723" y="246698"/>
                      <a:pt x="1256348" y="0"/>
                      <a:pt x="866775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B49D26A-FD55-E510-C95A-E32ACF10610A}"/>
                  </a:ext>
                </a:extLst>
              </p:cNvPr>
              <p:cNvSpPr/>
              <p:nvPr/>
            </p:nvSpPr>
            <p:spPr>
              <a:xfrm>
                <a:off x="15403318" y="8148533"/>
                <a:ext cx="1624964" cy="652462"/>
              </a:xfrm>
              <a:custGeom>
                <a:avLst/>
                <a:gdLst>
                  <a:gd name="connsiteX0" fmla="*/ 812486 w 1624964"/>
                  <a:gd name="connsiteY0" fmla="*/ 0 h 652462"/>
                  <a:gd name="connsiteX1" fmla="*/ 4 w 1624964"/>
                  <a:gd name="connsiteY1" fmla="*/ 489585 h 652462"/>
                  <a:gd name="connsiteX2" fmla="*/ 4 w 1624964"/>
                  <a:gd name="connsiteY2" fmla="*/ 652463 h 652462"/>
                  <a:gd name="connsiteX3" fmla="*/ 812486 w 1624964"/>
                  <a:gd name="connsiteY3" fmla="*/ 272415 h 652462"/>
                  <a:gd name="connsiteX4" fmla="*/ 1624969 w 1624964"/>
                  <a:gd name="connsiteY4" fmla="*/ 652463 h 652462"/>
                  <a:gd name="connsiteX5" fmla="*/ 1624969 w 1624964"/>
                  <a:gd name="connsiteY5" fmla="*/ 489585 h 652462"/>
                  <a:gd name="connsiteX6" fmla="*/ 812486 w 1624964"/>
                  <a:gd name="connsiteY6" fmla="*/ 0 h 6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4964" h="652462">
                    <a:moveTo>
                      <a:pt x="812486" y="0"/>
                    </a:moveTo>
                    <a:cubicBezTo>
                      <a:pt x="465776" y="0"/>
                      <a:pt x="162881" y="196215"/>
                      <a:pt x="4" y="489585"/>
                    </a:cubicBezTo>
                    <a:lnTo>
                      <a:pt x="4" y="652463"/>
                    </a:lnTo>
                    <a:cubicBezTo>
                      <a:pt x="194314" y="420053"/>
                      <a:pt x="485779" y="272415"/>
                      <a:pt x="812486" y="272415"/>
                    </a:cubicBezTo>
                    <a:cubicBezTo>
                      <a:pt x="1139194" y="272415"/>
                      <a:pt x="1430659" y="420053"/>
                      <a:pt x="1624969" y="652463"/>
                    </a:cubicBezTo>
                    <a:lnTo>
                      <a:pt x="1624969" y="489585"/>
                    </a:lnTo>
                    <a:cubicBezTo>
                      <a:pt x="1461139" y="197168"/>
                      <a:pt x="1159196" y="0"/>
                      <a:pt x="812486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D9DD949-0249-15C7-2C46-BE1015E920BB}"/>
                </a:ext>
              </a:extLst>
            </p:cNvPr>
            <p:cNvGrpSpPr/>
            <p:nvPr/>
          </p:nvGrpSpPr>
          <p:grpSpPr>
            <a:xfrm rot="10800000">
              <a:off x="14749848" y="6719847"/>
              <a:ext cx="2620076" cy="2602159"/>
              <a:chOff x="18788045" y="8156151"/>
              <a:chExt cx="3467098" cy="3443391"/>
            </a:xfrm>
          </p:grpSpPr>
          <p:sp>
            <p:nvSpPr>
              <p:cNvPr id="22" name="Isosceles Triangle 21">
                <a:extLst>
                  <a:ext uri="{FF2B5EF4-FFF2-40B4-BE49-F238E27FC236}">
                    <a16:creationId xmlns:a16="http://schemas.microsoft.com/office/drawing/2014/main" id="{81D9A5C7-1D52-6021-6E37-4CD55B8EBBF6}"/>
                  </a:ext>
                </a:extLst>
              </p:cNvPr>
              <p:cNvSpPr/>
              <p:nvPr/>
            </p:nvSpPr>
            <p:spPr bwMode="auto">
              <a:xfrm rot="16200000">
                <a:off x="17933124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8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id="{264AAA91-6C82-F47A-5662-0182FD625908}"/>
                  </a:ext>
                </a:extLst>
              </p:cNvPr>
              <p:cNvSpPr/>
              <p:nvPr/>
            </p:nvSpPr>
            <p:spPr bwMode="auto">
              <a:xfrm rot="16200000">
                <a:off x="19666673" y="9011072"/>
                <a:ext cx="3443391" cy="1733549"/>
              </a:xfrm>
              <a:prstGeom prst="triangle">
                <a:avLst/>
              </a:prstGeom>
              <a:solidFill>
                <a:srgbClr val="6FDC8C"/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5718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IBM Plex Sans Light"/>
                  <a:buNone/>
                  <a:tabLst/>
                </a:pPr>
                <a:endParaRPr kumimoji="0" lang="en-US" sz="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A1680-FB4E-20EE-F642-535BDD139323}"/>
                </a:ext>
              </a:extLst>
            </p:cNvPr>
            <p:cNvSpPr/>
            <p:nvPr/>
          </p:nvSpPr>
          <p:spPr>
            <a:xfrm>
              <a:off x="17590432" y="6715973"/>
              <a:ext cx="1921392" cy="2602161"/>
            </a:xfrm>
            <a:custGeom>
              <a:avLst/>
              <a:gdLst>
                <a:gd name="connsiteX0" fmla="*/ 134732 w 269464"/>
                <a:gd name="connsiteY0" fmla="*/ 364939 h 364938"/>
                <a:gd name="connsiteX1" fmla="*/ 0 w 269464"/>
                <a:gd name="connsiteY1" fmla="*/ 230207 h 364938"/>
                <a:gd name="connsiteX2" fmla="*/ 0 w 269464"/>
                <a:gd name="connsiteY2" fmla="*/ 73486 h 364938"/>
                <a:gd name="connsiteX3" fmla="*/ 134732 w 269464"/>
                <a:gd name="connsiteY3" fmla="*/ 0 h 364938"/>
                <a:gd name="connsiteX4" fmla="*/ 269464 w 269464"/>
                <a:gd name="connsiteY4" fmla="*/ 73486 h 364938"/>
                <a:gd name="connsiteX5" fmla="*/ 269464 w 269464"/>
                <a:gd name="connsiteY5" fmla="*/ 230207 h 364938"/>
                <a:gd name="connsiteX6" fmla="*/ 134732 w 269464"/>
                <a:gd name="connsiteY6" fmla="*/ 364939 h 364938"/>
                <a:gd name="connsiteX7" fmla="*/ 8539 w 269464"/>
                <a:gd name="connsiteY7" fmla="*/ 78562 h 364938"/>
                <a:gd name="connsiteX8" fmla="*/ 8539 w 269464"/>
                <a:gd name="connsiteY8" fmla="*/ 230207 h 364938"/>
                <a:gd name="connsiteX9" fmla="*/ 134732 w 269464"/>
                <a:gd name="connsiteY9" fmla="*/ 356400 h 364938"/>
                <a:gd name="connsiteX10" fmla="*/ 260925 w 269464"/>
                <a:gd name="connsiteY10" fmla="*/ 230207 h 364938"/>
                <a:gd name="connsiteX11" fmla="*/ 260925 w 269464"/>
                <a:gd name="connsiteY11" fmla="*/ 78562 h 364938"/>
                <a:gd name="connsiteX12" fmla="*/ 134732 w 269464"/>
                <a:gd name="connsiteY12" fmla="*/ 9725 h 364938"/>
                <a:gd name="connsiteX13" fmla="*/ 8539 w 269464"/>
                <a:gd name="connsiteY13" fmla="*/ 78562 h 364938"/>
                <a:gd name="connsiteX14" fmla="*/ 139002 w 269464"/>
                <a:gd name="connsiteY14" fmla="*/ 277648 h 364938"/>
                <a:gd name="connsiteX15" fmla="*/ 130462 w 269464"/>
                <a:gd name="connsiteY15" fmla="*/ 277648 h 364938"/>
                <a:gd name="connsiteX16" fmla="*/ 130462 w 269464"/>
                <a:gd name="connsiteY16" fmla="*/ 206486 h 364938"/>
                <a:gd name="connsiteX17" fmla="*/ 139002 w 269464"/>
                <a:gd name="connsiteY17" fmla="*/ 206486 h 364938"/>
                <a:gd name="connsiteX18" fmla="*/ 139002 w 269464"/>
                <a:gd name="connsiteY18" fmla="*/ 277648 h 364938"/>
                <a:gd name="connsiteX19" fmla="*/ 229614 w 269464"/>
                <a:gd name="connsiteY19" fmla="*/ 187036 h 364938"/>
                <a:gd name="connsiteX20" fmla="*/ 158453 w 269464"/>
                <a:gd name="connsiteY20" fmla="*/ 187036 h 364938"/>
                <a:gd name="connsiteX21" fmla="*/ 158453 w 269464"/>
                <a:gd name="connsiteY21" fmla="*/ 178496 h 364938"/>
                <a:gd name="connsiteX22" fmla="*/ 229614 w 269464"/>
                <a:gd name="connsiteY22" fmla="*/ 178496 h 364938"/>
                <a:gd name="connsiteX23" fmla="*/ 229614 w 269464"/>
                <a:gd name="connsiteY23" fmla="*/ 187036 h 364938"/>
                <a:gd name="connsiteX24" fmla="*/ 111012 w 269464"/>
                <a:gd name="connsiteY24" fmla="*/ 187036 h 364938"/>
                <a:gd name="connsiteX25" fmla="*/ 39850 w 269464"/>
                <a:gd name="connsiteY25" fmla="*/ 187036 h 364938"/>
                <a:gd name="connsiteX26" fmla="*/ 39850 w 269464"/>
                <a:gd name="connsiteY26" fmla="*/ 178496 h 364938"/>
                <a:gd name="connsiteX27" fmla="*/ 111012 w 269464"/>
                <a:gd name="connsiteY27" fmla="*/ 178496 h 364938"/>
                <a:gd name="connsiteX28" fmla="*/ 111012 w 269464"/>
                <a:gd name="connsiteY28" fmla="*/ 187036 h 364938"/>
                <a:gd name="connsiteX29" fmla="*/ 139002 w 269464"/>
                <a:gd name="connsiteY29" fmla="*/ 159046 h 364938"/>
                <a:gd name="connsiteX30" fmla="*/ 130462 w 269464"/>
                <a:gd name="connsiteY30" fmla="*/ 159046 h 364938"/>
                <a:gd name="connsiteX31" fmla="*/ 130462 w 269464"/>
                <a:gd name="connsiteY31" fmla="*/ 87884 h 364938"/>
                <a:gd name="connsiteX32" fmla="*/ 139002 w 269464"/>
                <a:gd name="connsiteY32" fmla="*/ 87884 h 364938"/>
                <a:gd name="connsiteX33" fmla="*/ 139002 w 269464"/>
                <a:gd name="connsiteY33" fmla="*/ 159046 h 364938"/>
                <a:gd name="connsiteX34" fmla="*/ 111012 w 269464"/>
                <a:gd name="connsiteY34" fmla="*/ 255113 h 364938"/>
                <a:gd name="connsiteX35" fmla="*/ 109565 w 269464"/>
                <a:gd name="connsiteY35" fmla="*/ 254864 h 364938"/>
                <a:gd name="connsiteX36" fmla="*/ 62646 w 269464"/>
                <a:gd name="connsiteY36" fmla="*/ 207933 h 364938"/>
                <a:gd name="connsiteX37" fmla="*/ 65219 w 269464"/>
                <a:gd name="connsiteY37" fmla="*/ 202478 h 364938"/>
                <a:gd name="connsiteX38" fmla="*/ 70675 w 269464"/>
                <a:gd name="connsiteY38" fmla="*/ 205063 h 364938"/>
                <a:gd name="connsiteX39" fmla="*/ 112435 w 269464"/>
                <a:gd name="connsiteY39" fmla="*/ 246823 h 364938"/>
                <a:gd name="connsiteX40" fmla="*/ 115009 w 269464"/>
                <a:gd name="connsiteY40" fmla="*/ 252279 h 364938"/>
                <a:gd name="connsiteX41" fmla="*/ 111012 w 269464"/>
                <a:gd name="connsiteY41" fmla="*/ 255113 h 364938"/>
                <a:gd name="connsiteX42" fmla="*/ 158453 w 269464"/>
                <a:gd name="connsiteY42" fmla="*/ 255113 h 364938"/>
                <a:gd name="connsiteX43" fmla="*/ 154432 w 269464"/>
                <a:gd name="connsiteY43" fmla="*/ 252279 h 364938"/>
                <a:gd name="connsiteX44" fmla="*/ 157017 w 269464"/>
                <a:gd name="connsiteY44" fmla="*/ 246823 h 364938"/>
                <a:gd name="connsiteX45" fmla="*/ 198777 w 269464"/>
                <a:gd name="connsiteY45" fmla="*/ 205063 h 364938"/>
                <a:gd name="connsiteX46" fmla="*/ 204233 w 269464"/>
                <a:gd name="connsiteY46" fmla="*/ 202478 h 364938"/>
                <a:gd name="connsiteX47" fmla="*/ 206818 w 269464"/>
                <a:gd name="connsiteY47" fmla="*/ 207933 h 364938"/>
                <a:gd name="connsiteX48" fmla="*/ 159888 w 269464"/>
                <a:gd name="connsiteY48" fmla="*/ 254864 h 364938"/>
                <a:gd name="connsiteX49" fmla="*/ 158453 w 269464"/>
                <a:gd name="connsiteY49" fmla="*/ 255113 h 364938"/>
                <a:gd name="connsiteX50" fmla="*/ 66666 w 269464"/>
                <a:gd name="connsiteY50" fmla="*/ 163315 h 364938"/>
                <a:gd name="connsiteX51" fmla="*/ 65219 w 269464"/>
                <a:gd name="connsiteY51" fmla="*/ 163066 h 364938"/>
                <a:gd name="connsiteX52" fmla="*/ 62646 w 269464"/>
                <a:gd name="connsiteY52" fmla="*/ 157610 h 364938"/>
                <a:gd name="connsiteX53" fmla="*/ 109565 w 269464"/>
                <a:gd name="connsiteY53" fmla="*/ 110691 h 364938"/>
                <a:gd name="connsiteX54" fmla="*/ 115020 w 269464"/>
                <a:gd name="connsiteY54" fmla="*/ 113265 h 364938"/>
                <a:gd name="connsiteX55" fmla="*/ 112447 w 269464"/>
                <a:gd name="connsiteY55" fmla="*/ 118721 h 364938"/>
                <a:gd name="connsiteX56" fmla="*/ 70687 w 269464"/>
                <a:gd name="connsiteY56" fmla="*/ 160481 h 364938"/>
                <a:gd name="connsiteX57" fmla="*/ 66666 w 269464"/>
                <a:gd name="connsiteY57" fmla="*/ 163315 h 364938"/>
                <a:gd name="connsiteX58" fmla="*/ 202798 w 269464"/>
                <a:gd name="connsiteY58" fmla="*/ 163315 h 364938"/>
                <a:gd name="connsiteX59" fmla="*/ 198777 w 269464"/>
                <a:gd name="connsiteY59" fmla="*/ 160492 h 364938"/>
                <a:gd name="connsiteX60" fmla="*/ 157017 w 269464"/>
                <a:gd name="connsiteY60" fmla="*/ 118733 h 364938"/>
                <a:gd name="connsiteX61" fmla="*/ 154432 w 269464"/>
                <a:gd name="connsiteY61" fmla="*/ 113277 h 364938"/>
                <a:gd name="connsiteX62" fmla="*/ 159888 w 269464"/>
                <a:gd name="connsiteY62" fmla="*/ 110703 h 364938"/>
                <a:gd name="connsiteX63" fmla="*/ 206818 w 269464"/>
                <a:gd name="connsiteY63" fmla="*/ 157622 h 364938"/>
                <a:gd name="connsiteX64" fmla="*/ 204233 w 269464"/>
                <a:gd name="connsiteY64" fmla="*/ 163078 h 364938"/>
                <a:gd name="connsiteX65" fmla="*/ 202798 w 269464"/>
                <a:gd name="connsiteY65" fmla="*/ 163315 h 364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9464" h="364938">
                  <a:moveTo>
                    <a:pt x="134732" y="364939"/>
                  </a:moveTo>
                  <a:cubicBezTo>
                    <a:pt x="60440" y="364939"/>
                    <a:pt x="0" y="304499"/>
                    <a:pt x="0" y="230207"/>
                  </a:cubicBezTo>
                  <a:lnTo>
                    <a:pt x="0" y="73486"/>
                  </a:lnTo>
                  <a:lnTo>
                    <a:pt x="134732" y="0"/>
                  </a:lnTo>
                  <a:lnTo>
                    <a:pt x="269464" y="73486"/>
                  </a:lnTo>
                  <a:lnTo>
                    <a:pt x="269464" y="230207"/>
                  </a:lnTo>
                  <a:cubicBezTo>
                    <a:pt x="269464" y="304499"/>
                    <a:pt x="209025" y="364939"/>
                    <a:pt x="134732" y="364939"/>
                  </a:cubicBezTo>
                  <a:close/>
                  <a:moveTo>
                    <a:pt x="8539" y="78562"/>
                  </a:moveTo>
                  <a:lnTo>
                    <a:pt x="8539" y="230207"/>
                  </a:lnTo>
                  <a:cubicBezTo>
                    <a:pt x="8539" y="299791"/>
                    <a:pt x="65148" y="356400"/>
                    <a:pt x="134732" y="356400"/>
                  </a:cubicBezTo>
                  <a:cubicBezTo>
                    <a:pt x="204316" y="356400"/>
                    <a:pt x="260925" y="299803"/>
                    <a:pt x="260925" y="230207"/>
                  </a:cubicBezTo>
                  <a:lnTo>
                    <a:pt x="260925" y="78562"/>
                  </a:lnTo>
                  <a:lnTo>
                    <a:pt x="134732" y="9725"/>
                  </a:lnTo>
                  <a:lnTo>
                    <a:pt x="8539" y="78562"/>
                  </a:lnTo>
                  <a:close/>
                  <a:moveTo>
                    <a:pt x="139002" y="277648"/>
                  </a:moveTo>
                  <a:lnTo>
                    <a:pt x="130462" y="277648"/>
                  </a:lnTo>
                  <a:lnTo>
                    <a:pt x="130462" y="206486"/>
                  </a:lnTo>
                  <a:lnTo>
                    <a:pt x="139002" y="206486"/>
                  </a:lnTo>
                  <a:lnTo>
                    <a:pt x="139002" y="277648"/>
                  </a:lnTo>
                  <a:close/>
                  <a:moveTo>
                    <a:pt x="229614" y="187036"/>
                  </a:moveTo>
                  <a:lnTo>
                    <a:pt x="158453" y="187036"/>
                  </a:lnTo>
                  <a:lnTo>
                    <a:pt x="158453" y="178496"/>
                  </a:lnTo>
                  <a:lnTo>
                    <a:pt x="229614" y="178496"/>
                  </a:lnTo>
                  <a:lnTo>
                    <a:pt x="229614" y="187036"/>
                  </a:lnTo>
                  <a:close/>
                  <a:moveTo>
                    <a:pt x="111012" y="187036"/>
                  </a:moveTo>
                  <a:lnTo>
                    <a:pt x="39850" y="187036"/>
                  </a:lnTo>
                  <a:lnTo>
                    <a:pt x="39850" y="178496"/>
                  </a:lnTo>
                  <a:lnTo>
                    <a:pt x="111012" y="178496"/>
                  </a:lnTo>
                  <a:lnTo>
                    <a:pt x="111012" y="187036"/>
                  </a:lnTo>
                  <a:close/>
                  <a:moveTo>
                    <a:pt x="139002" y="159046"/>
                  </a:moveTo>
                  <a:lnTo>
                    <a:pt x="130462" y="159046"/>
                  </a:lnTo>
                  <a:lnTo>
                    <a:pt x="130462" y="87884"/>
                  </a:lnTo>
                  <a:lnTo>
                    <a:pt x="139002" y="87884"/>
                  </a:lnTo>
                  <a:lnTo>
                    <a:pt x="139002" y="159046"/>
                  </a:lnTo>
                  <a:close/>
                  <a:moveTo>
                    <a:pt x="111012" y="255113"/>
                  </a:moveTo>
                  <a:cubicBezTo>
                    <a:pt x="110525" y="255113"/>
                    <a:pt x="110039" y="255030"/>
                    <a:pt x="109565" y="254864"/>
                  </a:cubicBezTo>
                  <a:cubicBezTo>
                    <a:pt x="87932" y="247120"/>
                    <a:pt x="70390" y="229566"/>
                    <a:pt x="62646" y="207933"/>
                  </a:cubicBezTo>
                  <a:cubicBezTo>
                    <a:pt x="61851" y="205715"/>
                    <a:pt x="63001" y="203272"/>
                    <a:pt x="65219" y="202478"/>
                  </a:cubicBezTo>
                  <a:cubicBezTo>
                    <a:pt x="67461" y="201671"/>
                    <a:pt x="69880" y="202833"/>
                    <a:pt x="70675" y="205063"/>
                  </a:cubicBezTo>
                  <a:cubicBezTo>
                    <a:pt x="77566" y="224312"/>
                    <a:pt x="93174" y="239920"/>
                    <a:pt x="112435" y="246823"/>
                  </a:cubicBezTo>
                  <a:cubicBezTo>
                    <a:pt x="114653" y="247618"/>
                    <a:pt x="115803" y="250061"/>
                    <a:pt x="115009" y="252279"/>
                  </a:cubicBezTo>
                  <a:cubicBezTo>
                    <a:pt x="114404" y="254022"/>
                    <a:pt x="112755" y="255113"/>
                    <a:pt x="111012" y="255113"/>
                  </a:cubicBezTo>
                  <a:close/>
                  <a:moveTo>
                    <a:pt x="158453" y="255113"/>
                  </a:moveTo>
                  <a:cubicBezTo>
                    <a:pt x="156709" y="255113"/>
                    <a:pt x="155061" y="254022"/>
                    <a:pt x="154432" y="252279"/>
                  </a:cubicBezTo>
                  <a:cubicBezTo>
                    <a:pt x="153637" y="250061"/>
                    <a:pt x="154788" y="247618"/>
                    <a:pt x="157017" y="246823"/>
                  </a:cubicBezTo>
                  <a:cubicBezTo>
                    <a:pt x="176267" y="239920"/>
                    <a:pt x="191875" y="224312"/>
                    <a:pt x="198777" y="205063"/>
                  </a:cubicBezTo>
                  <a:cubicBezTo>
                    <a:pt x="199560" y="202833"/>
                    <a:pt x="202015" y="201659"/>
                    <a:pt x="204233" y="202478"/>
                  </a:cubicBezTo>
                  <a:cubicBezTo>
                    <a:pt x="206463" y="203272"/>
                    <a:pt x="207613" y="205715"/>
                    <a:pt x="206818" y="207933"/>
                  </a:cubicBezTo>
                  <a:cubicBezTo>
                    <a:pt x="199074" y="229566"/>
                    <a:pt x="181521" y="247120"/>
                    <a:pt x="159888" y="254864"/>
                  </a:cubicBezTo>
                  <a:cubicBezTo>
                    <a:pt x="159413" y="255030"/>
                    <a:pt x="158927" y="255113"/>
                    <a:pt x="158453" y="255113"/>
                  </a:cubicBezTo>
                  <a:close/>
                  <a:moveTo>
                    <a:pt x="66666" y="163315"/>
                  </a:moveTo>
                  <a:cubicBezTo>
                    <a:pt x="66180" y="163315"/>
                    <a:pt x="65706" y="163244"/>
                    <a:pt x="65219" y="163066"/>
                  </a:cubicBezTo>
                  <a:cubicBezTo>
                    <a:pt x="63001" y="162272"/>
                    <a:pt x="61851" y="159828"/>
                    <a:pt x="62646" y="157610"/>
                  </a:cubicBezTo>
                  <a:cubicBezTo>
                    <a:pt x="70390" y="135977"/>
                    <a:pt x="87932" y="118436"/>
                    <a:pt x="109565" y="110691"/>
                  </a:cubicBezTo>
                  <a:cubicBezTo>
                    <a:pt x="111794" y="109885"/>
                    <a:pt x="114238" y="111047"/>
                    <a:pt x="115020" y="113265"/>
                  </a:cubicBezTo>
                  <a:cubicBezTo>
                    <a:pt x="115803" y="115483"/>
                    <a:pt x="114665" y="117938"/>
                    <a:pt x="112447" y="118721"/>
                  </a:cubicBezTo>
                  <a:cubicBezTo>
                    <a:pt x="93186" y="125623"/>
                    <a:pt x="77578" y="141220"/>
                    <a:pt x="70687" y="160481"/>
                  </a:cubicBezTo>
                  <a:cubicBezTo>
                    <a:pt x="70058" y="162236"/>
                    <a:pt x="68422" y="163315"/>
                    <a:pt x="66666" y="163315"/>
                  </a:cubicBezTo>
                  <a:close/>
                  <a:moveTo>
                    <a:pt x="202798" y="163315"/>
                  </a:moveTo>
                  <a:cubicBezTo>
                    <a:pt x="201054" y="163315"/>
                    <a:pt x="199406" y="162236"/>
                    <a:pt x="198777" y="160492"/>
                  </a:cubicBezTo>
                  <a:cubicBezTo>
                    <a:pt x="191875" y="141231"/>
                    <a:pt x="176267" y="125623"/>
                    <a:pt x="157017" y="118733"/>
                  </a:cubicBezTo>
                  <a:cubicBezTo>
                    <a:pt x="154788" y="117938"/>
                    <a:pt x="153637" y="115495"/>
                    <a:pt x="154432" y="113277"/>
                  </a:cubicBezTo>
                  <a:cubicBezTo>
                    <a:pt x="155227" y="111059"/>
                    <a:pt x="157646" y="109897"/>
                    <a:pt x="159888" y="110703"/>
                  </a:cubicBezTo>
                  <a:cubicBezTo>
                    <a:pt x="181521" y="118448"/>
                    <a:pt x="199074" y="135989"/>
                    <a:pt x="206818" y="157622"/>
                  </a:cubicBezTo>
                  <a:cubicBezTo>
                    <a:pt x="207613" y="159852"/>
                    <a:pt x="206463" y="162295"/>
                    <a:pt x="204233" y="163078"/>
                  </a:cubicBezTo>
                  <a:cubicBezTo>
                    <a:pt x="203759" y="163244"/>
                    <a:pt x="203272" y="163315"/>
                    <a:pt x="202798" y="163315"/>
                  </a:cubicBezTo>
                  <a:close/>
                </a:path>
              </a:pathLst>
            </a:custGeom>
            <a:solidFill>
              <a:srgbClr val="000000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DB77AB-31CA-9393-C250-D21C90AD747D}"/>
                </a:ext>
              </a:extLst>
            </p:cNvPr>
            <p:cNvGrpSpPr/>
            <p:nvPr/>
          </p:nvGrpSpPr>
          <p:grpSpPr>
            <a:xfrm>
              <a:off x="21004440" y="5488292"/>
              <a:ext cx="1224656" cy="1224655"/>
              <a:chOff x="18495170" y="1113633"/>
              <a:chExt cx="1724061" cy="1724059"/>
            </a:xfrm>
          </p:grpSpPr>
          <p:sp>
            <p:nvSpPr>
              <p:cNvPr id="20" name="Graphic 10">
                <a:extLst>
                  <a:ext uri="{FF2B5EF4-FFF2-40B4-BE49-F238E27FC236}">
                    <a16:creationId xmlns:a16="http://schemas.microsoft.com/office/drawing/2014/main" id="{968278EA-EC7A-C8C1-3D03-67D9517A8E97}"/>
                  </a:ext>
                </a:extLst>
              </p:cNvPr>
              <p:cNvSpPr/>
              <p:nvPr/>
            </p:nvSpPr>
            <p:spPr>
              <a:xfrm rot="16200000">
                <a:off x="18926187" y="68261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  <p:sp>
            <p:nvSpPr>
              <p:cNvPr id="21" name="Graphic 10">
                <a:extLst>
                  <a:ext uri="{FF2B5EF4-FFF2-40B4-BE49-F238E27FC236}">
                    <a16:creationId xmlns:a16="http://schemas.microsoft.com/office/drawing/2014/main" id="{711F2D4E-580F-FDDA-13E8-7599C186951B}"/>
                  </a:ext>
                </a:extLst>
              </p:cNvPr>
              <p:cNvSpPr/>
              <p:nvPr/>
            </p:nvSpPr>
            <p:spPr>
              <a:xfrm rot="5400000">
                <a:off x="18926184" y="1544649"/>
                <a:ext cx="862029" cy="1724058"/>
              </a:xfrm>
              <a:custGeom>
                <a:avLst/>
                <a:gdLst>
                  <a:gd name="connsiteX0" fmla="*/ 0 w 2862262"/>
                  <a:gd name="connsiteY0" fmla="*/ 2862263 h 5724525"/>
                  <a:gd name="connsiteX1" fmla="*/ 2862263 w 2862262"/>
                  <a:gd name="connsiteY1" fmla="*/ 5724525 h 5724525"/>
                  <a:gd name="connsiteX2" fmla="*/ 2862263 w 2862262"/>
                  <a:gd name="connsiteY2" fmla="*/ 0 h 5724525"/>
                  <a:gd name="connsiteX3" fmla="*/ 0 w 2862262"/>
                  <a:gd name="connsiteY3" fmla="*/ 2862263 h 572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2262" h="5724525">
                    <a:moveTo>
                      <a:pt x="0" y="2862263"/>
                    </a:moveTo>
                    <a:cubicBezTo>
                      <a:pt x="0" y="4443413"/>
                      <a:pt x="1281113" y="5724525"/>
                      <a:pt x="2862263" y="5724525"/>
                    </a:cubicBezTo>
                    <a:lnTo>
                      <a:pt x="2862263" y="0"/>
                    </a:lnTo>
                    <a:cubicBezTo>
                      <a:pt x="1281113" y="0"/>
                      <a:pt x="0" y="1281113"/>
                      <a:pt x="0" y="286226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675"/>
              </a:p>
            </p:txBody>
          </p:sp>
        </p:grp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03FD4805-C8F0-157A-12EA-E29BF4A6A821}"/>
                </a:ext>
              </a:extLst>
            </p:cNvPr>
            <p:cNvSpPr/>
            <p:nvPr/>
          </p:nvSpPr>
          <p:spPr>
            <a:xfrm>
              <a:off x="19740689" y="4229100"/>
              <a:ext cx="1252842" cy="1252842"/>
            </a:xfrm>
            <a:custGeom>
              <a:avLst/>
              <a:gdLst>
                <a:gd name="connsiteX0" fmla="*/ 0 w 1313497"/>
                <a:gd name="connsiteY0" fmla="*/ 0 h 1313497"/>
                <a:gd name="connsiteX1" fmla="*/ 0 w 1313497"/>
                <a:gd name="connsiteY1" fmla="*/ 1313498 h 1313497"/>
                <a:gd name="connsiteX2" fmla="*/ 1313498 w 1313497"/>
                <a:gd name="connsiteY2" fmla="*/ 1313498 h 1313497"/>
                <a:gd name="connsiteX3" fmla="*/ 1313498 w 1313497"/>
                <a:gd name="connsiteY3" fmla="*/ 0 h 1313497"/>
                <a:gd name="connsiteX4" fmla="*/ 0 w 1313497"/>
                <a:gd name="connsiteY4" fmla="*/ 0 h 1313497"/>
                <a:gd name="connsiteX5" fmla="*/ 657225 w 1313497"/>
                <a:gd name="connsiteY5" fmla="*/ 1307783 h 1313497"/>
                <a:gd name="connsiteX6" fmla="*/ 6668 w 1313497"/>
                <a:gd name="connsiteY6" fmla="*/ 657225 h 1313497"/>
                <a:gd name="connsiteX7" fmla="*/ 657225 w 1313497"/>
                <a:gd name="connsiteY7" fmla="*/ 6668 h 1313497"/>
                <a:gd name="connsiteX8" fmla="*/ 1307783 w 1313497"/>
                <a:gd name="connsiteY8" fmla="*/ 657225 h 1313497"/>
                <a:gd name="connsiteX9" fmla="*/ 657225 w 1313497"/>
                <a:gd name="connsiteY9" fmla="*/ 1307783 h 13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497" h="1313497">
                  <a:moveTo>
                    <a:pt x="0" y="0"/>
                  </a:moveTo>
                  <a:lnTo>
                    <a:pt x="0" y="1313498"/>
                  </a:lnTo>
                  <a:lnTo>
                    <a:pt x="1313498" y="1313498"/>
                  </a:lnTo>
                  <a:lnTo>
                    <a:pt x="1313498" y="0"/>
                  </a:lnTo>
                  <a:lnTo>
                    <a:pt x="0" y="0"/>
                  </a:lnTo>
                  <a:close/>
                  <a:moveTo>
                    <a:pt x="657225" y="1307783"/>
                  </a:moveTo>
                  <a:lnTo>
                    <a:pt x="6668" y="657225"/>
                  </a:lnTo>
                  <a:lnTo>
                    <a:pt x="657225" y="6668"/>
                  </a:lnTo>
                  <a:lnTo>
                    <a:pt x="1307783" y="657225"/>
                  </a:lnTo>
                  <a:lnTo>
                    <a:pt x="657225" y="130778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75"/>
            </a:p>
          </p:txBody>
        </p:sp>
        <p:grpSp>
          <p:nvGrpSpPr>
            <p:cNvPr id="11" name="Group 13">
              <a:extLst>
                <a:ext uri="{FF2B5EF4-FFF2-40B4-BE49-F238E27FC236}">
                  <a16:creationId xmlns:a16="http://schemas.microsoft.com/office/drawing/2014/main" id="{7DCD6226-1598-8CFE-EF19-AD0C32E0FDE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008453" y="1685924"/>
              <a:ext cx="2287320" cy="2555875"/>
              <a:chOff x="8996" y="4253"/>
              <a:chExt cx="5434" cy="6072"/>
            </a:xfrm>
            <a:solidFill>
              <a:schemeClr val="tx1"/>
            </a:solidFill>
          </p:grpSpPr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2CB82D3E-CDAB-D340-8580-67407B62D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6" y="5452"/>
                <a:ext cx="1445" cy="2473"/>
              </a:xfrm>
              <a:custGeom>
                <a:avLst/>
                <a:gdLst>
                  <a:gd name="T0" fmla="*/ 393 w 764"/>
                  <a:gd name="T1" fmla="*/ 197 h 1307"/>
                  <a:gd name="T2" fmla="*/ 197 w 764"/>
                  <a:gd name="T3" fmla="*/ 0 h 1307"/>
                  <a:gd name="T4" fmla="*/ 0 w 764"/>
                  <a:gd name="T5" fmla="*/ 197 h 1307"/>
                  <a:gd name="T6" fmla="*/ 197 w 764"/>
                  <a:gd name="T7" fmla="*/ 394 h 1307"/>
                  <a:gd name="T8" fmla="*/ 314 w 764"/>
                  <a:gd name="T9" fmla="*/ 355 h 1307"/>
                  <a:gd name="T10" fmla="*/ 687 w 764"/>
                  <a:gd name="T11" fmla="*/ 690 h 1307"/>
                  <a:gd name="T12" fmla="*/ 687 w 764"/>
                  <a:gd name="T13" fmla="*/ 1307 h 1307"/>
                  <a:gd name="T14" fmla="*/ 764 w 764"/>
                  <a:gd name="T15" fmla="*/ 1307 h 1307"/>
                  <a:gd name="T16" fmla="*/ 764 w 764"/>
                  <a:gd name="T17" fmla="*/ 656 h 1307"/>
                  <a:gd name="T18" fmla="*/ 365 w 764"/>
                  <a:gd name="T19" fmla="*/ 299 h 1307"/>
                  <a:gd name="T20" fmla="*/ 393 w 764"/>
                  <a:gd name="T21" fmla="*/ 197 h 1307"/>
                  <a:gd name="T22" fmla="*/ 197 w 764"/>
                  <a:gd name="T23" fmla="*/ 318 h 1307"/>
                  <a:gd name="T24" fmla="*/ 76 w 764"/>
                  <a:gd name="T25" fmla="*/ 197 h 1307"/>
                  <a:gd name="T26" fmla="*/ 197 w 764"/>
                  <a:gd name="T27" fmla="*/ 77 h 1307"/>
                  <a:gd name="T28" fmla="*/ 317 w 764"/>
                  <a:gd name="T29" fmla="*/ 197 h 1307"/>
                  <a:gd name="T30" fmla="*/ 197 w 764"/>
                  <a:gd name="T31" fmla="*/ 318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4" h="1307">
                    <a:moveTo>
                      <a:pt x="393" y="197"/>
                    </a:moveTo>
                    <a:cubicBezTo>
                      <a:pt x="393" y="89"/>
                      <a:pt x="305" y="0"/>
                      <a:pt x="197" y="0"/>
                    </a:cubicBezTo>
                    <a:cubicBezTo>
                      <a:pt x="88" y="0"/>
                      <a:pt x="0" y="89"/>
                      <a:pt x="0" y="197"/>
                    </a:cubicBezTo>
                    <a:cubicBezTo>
                      <a:pt x="0" y="306"/>
                      <a:pt x="88" y="394"/>
                      <a:pt x="197" y="394"/>
                    </a:cubicBezTo>
                    <a:cubicBezTo>
                      <a:pt x="240" y="394"/>
                      <a:pt x="281" y="379"/>
                      <a:pt x="314" y="355"/>
                    </a:cubicBezTo>
                    <a:cubicBezTo>
                      <a:pt x="687" y="690"/>
                      <a:pt x="687" y="690"/>
                      <a:pt x="687" y="690"/>
                    </a:cubicBezTo>
                    <a:cubicBezTo>
                      <a:pt x="687" y="1307"/>
                      <a:pt x="687" y="1307"/>
                      <a:pt x="687" y="1307"/>
                    </a:cubicBezTo>
                    <a:cubicBezTo>
                      <a:pt x="764" y="1307"/>
                      <a:pt x="764" y="1307"/>
                      <a:pt x="764" y="1307"/>
                    </a:cubicBezTo>
                    <a:cubicBezTo>
                      <a:pt x="764" y="656"/>
                      <a:pt x="764" y="656"/>
                      <a:pt x="764" y="656"/>
                    </a:cubicBezTo>
                    <a:cubicBezTo>
                      <a:pt x="365" y="299"/>
                      <a:pt x="365" y="299"/>
                      <a:pt x="365" y="299"/>
                    </a:cubicBezTo>
                    <a:cubicBezTo>
                      <a:pt x="383" y="269"/>
                      <a:pt x="393" y="234"/>
                      <a:pt x="393" y="197"/>
                    </a:cubicBezTo>
                    <a:close/>
                    <a:moveTo>
                      <a:pt x="197" y="318"/>
                    </a:moveTo>
                    <a:cubicBezTo>
                      <a:pt x="130" y="318"/>
                      <a:pt x="76" y="264"/>
                      <a:pt x="76" y="197"/>
                    </a:cubicBezTo>
                    <a:cubicBezTo>
                      <a:pt x="76" y="131"/>
                      <a:pt x="130" y="77"/>
                      <a:pt x="197" y="77"/>
                    </a:cubicBezTo>
                    <a:cubicBezTo>
                      <a:pt x="263" y="77"/>
                      <a:pt x="317" y="131"/>
                      <a:pt x="317" y="197"/>
                    </a:cubicBezTo>
                    <a:cubicBezTo>
                      <a:pt x="317" y="264"/>
                      <a:pt x="263" y="318"/>
                      <a:pt x="197" y="3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D12FCC87-977D-C8B5-0919-DE4EDDEBE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86" y="7454"/>
                <a:ext cx="1345" cy="2871"/>
              </a:xfrm>
              <a:custGeom>
                <a:avLst/>
                <a:gdLst>
                  <a:gd name="T0" fmla="*/ 393 w 711"/>
                  <a:gd name="T1" fmla="*/ 197 h 1518"/>
                  <a:gd name="T2" fmla="*/ 197 w 711"/>
                  <a:gd name="T3" fmla="*/ 0 h 1518"/>
                  <a:gd name="T4" fmla="*/ 0 w 711"/>
                  <a:gd name="T5" fmla="*/ 197 h 1518"/>
                  <a:gd name="T6" fmla="*/ 197 w 711"/>
                  <a:gd name="T7" fmla="*/ 393 h 1518"/>
                  <a:gd name="T8" fmla="*/ 322 w 711"/>
                  <a:gd name="T9" fmla="*/ 348 h 1518"/>
                  <a:gd name="T10" fmla="*/ 634 w 711"/>
                  <a:gd name="T11" fmla="*/ 604 h 1518"/>
                  <a:gd name="T12" fmla="*/ 634 w 711"/>
                  <a:gd name="T13" fmla="*/ 1518 h 1518"/>
                  <a:gd name="T14" fmla="*/ 711 w 711"/>
                  <a:gd name="T15" fmla="*/ 1518 h 1518"/>
                  <a:gd name="T16" fmla="*/ 711 w 711"/>
                  <a:gd name="T17" fmla="*/ 568 h 1518"/>
                  <a:gd name="T18" fmla="*/ 370 w 711"/>
                  <a:gd name="T19" fmla="*/ 289 h 1518"/>
                  <a:gd name="T20" fmla="*/ 393 w 711"/>
                  <a:gd name="T21" fmla="*/ 197 h 1518"/>
                  <a:gd name="T22" fmla="*/ 197 w 711"/>
                  <a:gd name="T23" fmla="*/ 317 h 1518"/>
                  <a:gd name="T24" fmla="*/ 76 w 711"/>
                  <a:gd name="T25" fmla="*/ 197 h 1518"/>
                  <a:gd name="T26" fmla="*/ 197 w 711"/>
                  <a:gd name="T27" fmla="*/ 76 h 1518"/>
                  <a:gd name="T28" fmla="*/ 317 w 711"/>
                  <a:gd name="T29" fmla="*/ 197 h 1518"/>
                  <a:gd name="T30" fmla="*/ 197 w 711"/>
                  <a:gd name="T31" fmla="*/ 317 h 1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11" h="1518">
                    <a:moveTo>
                      <a:pt x="393" y="197"/>
                    </a:moveTo>
                    <a:cubicBezTo>
                      <a:pt x="393" y="88"/>
                      <a:pt x="305" y="0"/>
                      <a:pt x="197" y="0"/>
                    </a:cubicBezTo>
                    <a:cubicBezTo>
                      <a:pt x="88" y="0"/>
                      <a:pt x="0" y="88"/>
                      <a:pt x="0" y="197"/>
                    </a:cubicBezTo>
                    <a:cubicBezTo>
                      <a:pt x="0" y="305"/>
                      <a:pt x="88" y="393"/>
                      <a:pt x="197" y="393"/>
                    </a:cubicBezTo>
                    <a:cubicBezTo>
                      <a:pt x="244" y="393"/>
                      <a:pt x="288" y="376"/>
                      <a:pt x="322" y="348"/>
                    </a:cubicBezTo>
                    <a:cubicBezTo>
                      <a:pt x="634" y="604"/>
                      <a:pt x="634" y="604"/>
                      <a:pt x="634" y="604"/>
                    </a:cubicBezTo>
                    <a:cubicBezTo>
                      <a:pt x="634" y="1518"/>
                      <a:pt x="634" y="1518"/>
                      <a:pt x="634" y="1518"/>
                    </a:cubicBezTo>
                    <a:cubicBezTo>
                      <a:pt x="711" y="1518"/>
                      <a:pt x="711" y="1518"/>
                      <a:pt x="711" y="151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370" y="289"/>
                      <a:pt x="370" y="289"/>
                      <a:pt x="370" y="289"/>
                    </a:cubicBezTo>
                    <a:cubicBezTo>
                      <a:pt x="385" y="262"/>
                      <a:pt x="393" y="230"/>
                      <a:pt x="393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7" y="130"/>
                      <a:pt x="317" y="197"/>
                    </a:cubicBezTo>
                    <a:cubicBezTo>
                      <a:pt x="317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1FDE1929-28B7-E247-352F-54FD169CB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86" y="4853"/>
                <a:ext cx="745" cy="5472"/>
              </a:xfrm>
              <a:custGeom>
                <a:avLst/>
                <a:gdLst>
                  <a:gd name="T0" fmla="*/ 394 w 394"/>
                  <a:gd name="T1" fmla="*/ 197 h 2893"/>
                  <a:gd name="T2" fmla="*/ 197 w 394"/>
                  <a:gd name="T3" fmla="*/ 0 h 2893"/>
                  <a:gd name="T4" fmla="*/ 0 w 394"/>
                  <a:gd name="T5" fmla="*/ 197 h 2893"/>
                  <a:gd name="T6" fmla="*/ 159 w 394"/>
                  <a:gd name="T7" fmla="*/ 390 h 2893"/>
                  <a:gd name="T8" fmla="*/ 159 w 394"/>
                  <a:gd name="T9" fmla="*/ 2893 h 2893"/>
                  <a:gd name="T10" fmla="*/ 235 w 394"/>
                  <a:gd name="T11" fmla="*/ 2893 h 2893"/>
                  <a:gd name="T12" fmla="*/ 235 w 394"/>
                  <a:gd name="T13" fmla="*/ 390 h 2893"/>
                  <a:gd name="T14" fmla="*/ 394 w 394"/>
                  <a:gd name="T15" fmla="*/ 197 h 2893"/>
                  <a:gd name="T16" fmla="*/ 197 w 394"/>
                  <a:gd name="T17" fmla="*/ 317 h 2893"/>
                  <a:gd name="T18" fmla="*/ 76 w 394"/>
                  <a:gd name="T19" fmla="*/ 197 h 2893"/>
                  <a:gd name="T20" fmla="*/ 197 w 394"/>
                  <a:gd name="T21" fmla="*/ 76 h 2893"/>
                  <a:gd name="T22" fmla="*/ 318 w 394"/>
                  <a:gd name="T23" fmla="*/ 197 h 2893"/>
                  <a:gd name="T24" fmla="*/ 197 w 394"/>
                  <a:gd name="T25" fmla="*/ 317 h 2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4" h="2893">
                    <a:moveTo>
                      <a:pt x="394" y="197"/>
                    </a:moveTo>
                    <a:cubicBezTo>
                      <a:pt x="394" y="88"/>
                      <a:pt x="305" y="0"/>
                      <a:pt x="197" y="0"/>
                    </a:cubicBezTo>
                    <a:cubicBezTo>
                      <a:pt x="89" y="0"/>
                      <a:pt x="0" y="88"/>
                      <a:pt x="0" y="197"/>
                    </a:cubicBezTo>
                    <a:cubicBezTo>
                      <a:pt x="0" y="292"/>
                      <a:pt x="69" y="372"/>
                      <a:pt x="159" y="390"/>
                    </a:cubicBezTo>
                    <a:cubicBezTo>
                      <a:pt x="159" y="2893"/>
                      <a:pt x="159" y="2893"/>
                      <a:pt x="159" y="2893"/>
                    </a:cubicBezTo>
                    <a:cubicBezTo>
                      <a:pt x="235" y="2893"/>
                      <a:pt x="235" y="2893"/>
                      <a:pt x="235" y="2893"/>
                    </a:cubicBezTo>
                    <a:cubicBezTo>
                      <a:pt x="235" y="390"/>
                      <a:pt x="235" y="390"/>
                      <a:pt x="235" y="390"/>
                    </a:cubicBezTo>
                    <a:cubicBezTo>
                      <a:pt x="325" y="372"/>
                      <a:pt x="394" y="292"/>
                      <a:pt x="394" y="197"/>
                    </a:cubicBezTo>
                    <a:close/>
                    <a:moveTo>
                      <a:pt x="197" y="317"/>
                    </a:moveTo>
                    <a:cubicBezTo>
                      <a:pt x="130" y="317"/>
                      <a:pt x="76" y="263"/>
                      <a:pt x="76" y="197"/>
                    </a:cubicBezTo>
                    <a:cubicBezTo>
                      <a:pt x="76" y="130"/>
                      <a:pt x="130" y="76"/>
                      <a:pt x="197" y="76"/>
                    </a:cubicBezTo>
                    <a:cubicBezTo>
                      <a:pt x="263" y="76"/>
                      <a:pt x="318" y="130"/>
                      <a:pt x="318" y="197"/>
                    </a:cubicBezTo>
                    <a:cubicBezTo>
                      <a:pt x="318" y="263"/>
                      <a:pt x="263" y="317"/>
                      <a:pt x="197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B0AF65F2-B143-C431-046C-D634071690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8454"/>
                <a:ext cx="1044" cy="1871"/>
              </a:xfrm>
              <a:custGeom>
                <a:avLst/>
                <a:gdLst>
                  <a:gd name="T0" fmla="*/ 356 w 552"/>
                  <a:gd name="T1" fmla="*/ 0 h 989"/>
                  <a:gd name="T2" fmla="*/ 159 w 552"/>
                  <a:gd name="T3" fmla="*/ 196 h 989"/>
                  <a:gd name="T4" fmla="*/ 182 w 552"/>
                  <a:gd name="T5" fmla="*/ 288 h 989"/>
                  <a:gd name="T6" fmla="*/ 0 w 552"/>
                  <a:gd name="T7" fmla="*/ 443 h 989"/>
                  <a:gd name="T8" fmla="*/ 0 w 552"/>
                  <a:gd name="T9" fmla="*/ 989 h 989"/>
                  <a:gd name="T10" fmla="*/ 77 w 552"/>
                  <a:gd name="T11" fmla="*/ 989 h 989"/>
                  <a:gd name="T12" fmla="*/ 77 w 552"/>
                  <a:gd name="T13" fmla="*/ 478 h 989"/>
                  <a:gd name="T14" fmla="*/ 229 w 552"/>
                  <a:gd name="T15" fmla="*/ 347 h 989"/>
                  <a:gd name="T16" fmla="*/ 356 w 552"/>
                  <a:gd name="T17" fmla="*/ 393 h 989"/>
                  <a:gd name="T18" fmla="*/ 552 w 552"/>
                  <a:gd name="T19" fmla="*/ 196 h 989"/>
                  <a:gd name="T20" fmla="*/ 356 w 552"/>
                  <a:gd name="T21" fmla="*/ 0 h 989"/>
                  <a:gd name="T22" fmla="*/ 356 w 552"/>
                  <a:gd name="T23" fmla="*/ 317 h 989"/>
                  <a:gd name="T24" fmla="*/ 235 w 552"/>
                  <a:gd name="T25" fmla="*/ 196 h 989"/>
                  <a:gd name="T26" fmla="*/ 356 w 552"/>
                  <a:gd name="T27" fmla="*/ 76 h 989"/>
                  <a:gd name="T28" fmla="*/ 476 w 552"/>
                  <a:gd name="T29" fmla="*/ 196 h 989"/>
                  <a:gd name="T30" fmla="*/ 356 w 552"/>
                  <a:gd name="T31" fmla="*/ 317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2" h="989">
                    <a:moveTo>
                      <a:pt x="356" y="0"/>
                    </a:moveTo>
                    <a:cubicBezTo>
                      <a:pt x="247" y="0"/>
                      <a:pt x="159" y="88"/>
                      <a:pt x="159" y="196"/>
                    </a:cubicBezTo>
                    <a:cubicBezTo>
                      <a:pt x="159" y="229"/>
                      <a:pt x="167" y="260"/>
                      <a:pt x="182" y="288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989"/>
                      <a:pt x="0" y="989"/>
                      <a:pt x="0" y="989"/>
                    </a:cubicBezTo>
                    <a:cubicBezTo>
                      <a:pt x="77" y="989"/>
                      <a:pt x="77" y="989"/>
                      <a:pt x="77" y="989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229" y="347"/>
                      <a:pt x="229" y="347"/>
                      <a:pt x="229" y="347"/>
                    </a:cubicBezTo>
                    <a:cubicBezTo>
                      <a:pt x="264" y="376"/>
                      <a:pt x="308" y="393"/>
                      <a:pt x="356" y="393"/>
                    </a:cubicBezTo>
                    <a:cubicBezTo>
                      <a:pt x="464" y="393"/>
                      <a:pt x="552" y="305"/>
                      <a:pt x="552" y="196"/>
                    </a:cubicBezTo>
                    <a:cubicBezTo>
                      <a:pt x="552" y="88"/>
                      <a:pt x="464" y="0"/>
                      <a:pt x="356" y="0"/>
                    </a:cubicBezTo>
                    <a:close/>
                    <a:moveTo>
                      <a:pt x="356" y="317"/>
                    </a:moveTo>
                    <a:cubicBezTo>
                      <a:pt x="289" y="317"/>
                      <a:pt x="235" y="263"/>
                      <a:pt x="235" y="196"/>
                    </a:cubicBezTo>
                    <a:cubicBezTo>
                      <a:pt x="235" y="130"/>
                      <a:pt x="289" y="76"/>
                      <a:pt x="356" y="76"/>
                    </a:cubicBezTo>
                    <a:cubicBezTo>
                      <a:pt x="422" y="76"/>
                      <a:pt x="476" y="130"/>
                      <a:pt x="476" y="196"/>
                    </a:cubicBezTo>
                    <a:cubicBezTo>
                      <a:pt x="476" y="263"/>
                      <a:pt x="422" y="317"/>
                      <a:pt x="356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51680746-1BA1-4C9F-89B2-982AB1403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86" y="6453"/>
                <a:ext cx="1144" cy="2272"/>
              </a:xfrm>
              <a:custGeom>
                <a:avLst/>
                <a:gdLst>
                  <a:gd name="T0" fmla="*/ 409 w 605"/>
                  <a:gd name="T1" fmla="*/ 0 h 1201"/>
                  <a:gd name="T2" fmla="*/ 212 w 605"/>
                  <a:gd name="T3" fmla="*/ 197 h 1201"/>
                  <a:gd name="T4" fmla="*/ 224 w 605"/>
                  <a:gd name="T5" fmla="*/ 264 h 1201"/>
                  <a:gd name="T6" fmla="*/ 0 w 605"/>
                  <a:gd name="T7" fmla="*/ 443 h 1201"/>
                  <a:gd name="T8" fmla="*/ 0 w 605"/>
                  <a:gd name="T9" fmla="*/ 1201 h 1201"/>
                  <a:gd name="T10" fmla="*/ 77 w 605"/>
                  <a:gd name="T11" fmla="*/ 1201 h 1201"/>
                  <a:gd name="T12" fmla="*/ 77 w 605"/>
                  <a:gd name="T13" fmla="*/ 479 h 1201"/>
                  <a:gd name="T14" fmla="*/ 264 w 605"/>
                  <a:gd name="T15" fmla="*/ 330 h 1201"/>
                  <a:gd name="T16" fmla="*/ 409 w 605"/>
                  <a:gd name="T17" fmla="*/ 394 h 1201"/>
                  <a:gd name="T18" fmla="*/ 605 w 605"/>
                  <a:gd name="T19" fmla="*/ 197 h 1201"/>
                  <a:gd name="T20" fmla="*/ 409 w 605"/>
                  <a:gd name="T21" fmla="*/ 0 h 1201"/>
                  <a:gd name="T22" fmla="*/ 409 w 605"/>
                  <a:gd name="T23" fmla="*/ 317 h 1201"/>
                  <a:gd name="T24" fmla="*/ 288 w 605"/>
                  <a:gd name="T25" fmla="*/ 197 h 1201"/>
                  <a:gd name="T26" fmla="*/ 409 w 605"/>
                  <a:gd name="T27" fmla="*/ 76 h 1201"/>
                  <a:gd name="T28" fmla="*/ 529 w 605"/>
                  <a:gd name="T29" fmla="*/ 197 h 1201"/>
                  <a:gd name="T30" fmla="*/ 409 w 605"/>
                  <a:gd name="T31" fmla="*/ 317 h 1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5" h="1201">
                    <a:moveTo>
                      <a:pt x="409" y="0"/>
                    </a:moveTo>
                    <a:cubicBezTo>
                      <a:pt x="300" y="0"/>
                      <a:pt x="212" y="88"/>
                      <a:pt x="212" y="197"/>
                    </a:cubicBezTo>
                    <a:cubicBezTo>
                      <a:pt x="212" y="220"/>
                      <a:pt x="216" y="243"/>
                      <a:pt x="224" y="264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1201"/>
                      <a:pt x="0" y="1201"/>
                      <a:pt x="0" y="1201"/>
                    </a:cubicBezTo>
                    <a:cubicBezTo>
                      <a:pt x="77" y="1201"/>
                      <a:pt x="77" y="1201"/>
                      <a:pt x="77" y="1201"/>
                    </a:cubicBezTo>
                    <a:cubicBezTo>
                      <a:pt x="77" y="479"/>
                      <a:pt x="77" y="479"/>
                      <a:pt x="77" y="479"/>
                    </a:cubicBezTo>
                    <a:cubicBezTo>
                      <a:pt x="264" y="330"/>
                      <a:pt x="264" y="330"/>
                      <a:pt x="264" y="330"/>
                    </a:cubicBezTo>
                    <a:cubicBezTo>
                      <a:pt x="300" y="369"/>
                      <a:pt x="351" y="394"/>
                      <a:pt x="409" y="394"/>
                    </a:cubicBezTo>
                    <a:cubicBezTo>
                      <a:pt x="517" y="394"/>
                      <a:pt x="605" y="305"/>
                      <a:pt x="605" y="197"/>
                    </a:cubicBezTo>
                    <a:cubicBezTo>
                      <a:pt x="605" y="88"/>
                      <a:pt x="517" y="0"/>
                      <a:pt x="409" y="0"/>
                    </a:cubicBezTo>
                    <a:close/>
                    <a:moveTo>
                      <a:pt x="409" y="317"/>
                    </a:moveTo>
                    <a:cubicBezTo>
                      <a:pt x="342" y="317"/>
                      <a:pt x="288" y="263"/>
                      <a:pt x="288" y="197"/>
                    </a:cubicBezTo>
                    <a:cubicBezTo>
                      <a:pt x="288" y="130"/>
                      <a:pt x="342" y="76"/>
                      <a:pt x="409" y="76"/>
                    </a:cubicBezTo>
                    <a:cubicBezTo>
                      <a:pt x="475" y="76"/>
                      <a:pt x="529" y="130"/>
                      <a:pt x="529" y="197"/>
                    </a:cubicBezTo>
                    <a:cubicBezTo>
                      <a:pt x="529" y="263"/>
                      <a:pt x="475" y="317"/>
                      <a:pt x="409" y="3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7B8460C3-DF07-EEAA-6C0E-7D8F3CE54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6" y="4253"/>
                <a:ext cx="5434" cy="6072"/>
              </a:xfrm>
              <a:custGeom>
                <a:avLst/>
                <a:gdLst>
                  <a:gd name="T0" fmla="*/ 2506 w 2873"/>
                  <a:gd name="T1" fmla="*/ 367 h 3210"/>
                  <a:gd name="T2" fmla="*/ 1619 w 2873"/>
                  <a:gd name="T3" fmla="*/ 0 h 3210"/>
                  <a:gd name="T4" fmla="*/ 732 w 2873"/>
                  <a:gd name="T5" fmla="*/ 367 h 3210"/>
                  <a:gd name="T6" fmla="*/ 365 w 2873"/>
                  <a:gd name="T7" fmla="*/ 1244 h 3210"/>
                  <a:gd name="T8" fmla="*/ 23 w 2873"/>
                  <a:gd name="T9" fmla="*/ 1876 h 3210"/>
                  <a:gd name="T10" fmla="*/ 23 w 2873"/>
                  <a:gd name="T11" fmla="*/ 1877 h 3210"/>
                  <a:gd name="T12" fmla="*/ 29 w 2873"/>
                  <a:gd name="T13" fmla="*/ 2017 h 3210"/>
                  <a:gd name="T14" fmla="*/ 151 w 2873"/>
                  <a:gd name="T15" fmla="*/ 2085 h 3210"/>
                  <a:gd name="T16" fmla="*/ 365 w 2873"/>
                  <a:gd name="T17" fmla="*/ 2085 h 3210"/>
                  <a:gd name="T18" fmla="*/ 365 w 2873"/>
                  <a:gd name="T19" fmla="*/ 2364 h 3210"/>
                  <a:gd name="T20" fmla="*/ 365 w 2873"/>
                  <a:gd name="T21" fmla="*/ 2364 h 3210"/>
                  <a:gd name="T22" fmla="*/ 436 w 2873"/>
                  <a:gd name="T23" fmla="*/ 2630 h 3210"/>
                  <a:gd name="T24" fmla="*/ 618 w 2873"/>
                  <a:gd name="T25" fmla="*/ 2843 h 3210"/>
                  <a:gd name="T26" fmla="*/ 1105 w 2873"/>
                  <a:gd name="T27" fmla="*/ 3036 h 3210"/>
                  <a:gd name="T28" fmla="*/ 1105 w 2873"/>
                  <a:gd name="T29" fmla="*/ 3210 h 3210"/>
                  <a:gd name="T30" fmla="*/ 1181 w 2873"/>
                  <a:gd name="T31" fmla="*/ 3210 h 3210"/>
                  <a:gd name="T32" fmla="*/ 1181 w 2873"/>
                  <a:gd name="T33" fmla="*/ 2961 h 3210"/>
                  <a:gd name="T34" fmla="*/ 1143 w 2873"/>
                  <a:gd name="T35" fmla="*/ 2961 h 3210"/>
                  <a:gd name="T36" fmla="*/ 666 w 2873"/>
                  <a:gd name="T37" fmla="*/ 2783 h 3210"/>
                  <a:gd name="T38" fmla="*/ 441 w 2873"/>
                  <a:gd name="T39" fmla="*/ 2364 h 3210"/>
                  <a:gd name="T40" fmla="*/ 441 w 2873"/>
                  <a:gd name="T41" fmla="*/ 2364 h 3210"/>
                  <a:gd name="T42" fmla="*/ 441 w 2873"/>
                  <a:gd name="T43" fmla="*/ 2047 h 3210"/>
                  <a:gd name="T44" fmla="*/ 403 w 2873"/>
                  <a:gd name="T45" fmla="*/ 2009 h 3210"/>
                  <a:gd name="T46" fmla="*/ 151 w 2873"/>
                  <a:gd name="T47" fmla="*/ 2009 h 3210"/>
                  <a:gd name="T48" fmla="*/ 94 w 2873"/>
                  <a:gd name="T49" fmla="*/ 1977 h 3210"/>
                  <a:gd name="T50" fmla="*/ 90 w 2873"/>
                  <a:gd name="T51" fmla="*/ 1912 h 3210"/>
                  <a:gd name="T52" fmla="*/ 437 w 2873"/>
                  <a:gd name="T53" fmla="*/ 1272 h 3210"/>
                  <a:gd name="T54" fmla="*/ 441 w 2873"/>
                  <a:gd name="T55" fmla="*/ 1254 h 3210"/>
                  <a:gd name="T56" fmla="*/ 1619 w 2873"/>
                  <a:gd name="T57" fmla="*/ 76 h 3210"/>
                  <a:gd name="T58" fmla="*/ 2797 w 2873"/>
                  <a:gd name="T59" fmla="*/ 1254 h 3210"/>
                  <a:gd name="T60" fmla="*/ 2490 w 2873"/>
                  <a:gd name="T61" fmla="*/ 2047 h 3210"/>
                  <a:gd name="T62" fmla="*/ 2480 w 2873"/>
                  <a:gd name="T63" fmla="*/ 2073 h 3210"/>
                  <a:gd name="T64" fmla="*/ 2480 w 2873"/>
                  <a:gd name="T65" fmla="*/ 3210 h 3210"/>
                  <a:gd name="T66" fmla="*/ 2556 w 2873"/>
                  <a:gd name="T67" fmla="*/ 3210 h 3210"/>
                  <a:gd name="T68" fmla="*/ 2556 w 2873"/>
                  <a:gd name="T69" fmla="*/ 2088 h 3210"/>
                  <a:gd name="T70" fmla="*/ 2873 w 2873"/>
                  <a:gd name="T71" fmla="*/ 1254 h 3210"/>
                  <a:gd name="T72" fmla="*/ 2506 w 2873"/>
                  <a:gd name="T73" fmla="*/ 367 h 3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73" h="3210">
                    <a:moveTo>
                      <a:pt x="2506" y="367"/>
                    </a:moveTo>
                    <a:cubicBezTo>
                      <a:pt x="2269" y="130"/>
                      <a:pt x="1954" y="0"/>
                      <a:pt x="1619" y="0"/>
                    </a:cubicBezTo>
                    <a:cubicBezTo>
                      <a:pt x="1284" y="0"/>
                      <a:pt x="969" y="130"/>
                      <a:pt x="732" y="367"/>
                    </a:cubicBezTo>
                    <a:cubicBezTo>
                      <a:pt x="498" y="602"/>
                      <a:pt x="367" y="913"/>
                      <a:pt x="365" y="1244"/>
                    </a:cubicBezTo>
                    <a:cubicBezTo>
                      <a:pt x="23" y="1876"/>
                      <a:pt x="23" y="1876"/>
                      <a:pt x="23" y="1876"/>
                    </a:cubicBezTo>
                    <a:cubicBezTo>
                      <a:pt x="23" y="1876"/>
                      <a:pt x="23" y="1877"/>
                      <a:pt x="23" y="1877"/>
                    </a:cubicBezTo>
                    <a:cubicBezTo>
                      <a:pt x="0" y="1922"/>
                      <a:pt x="2" y="1974"/>
                      <a:pt x="29" y="2017"/>
                    </a:cubicBezTo>
                    <a:cubicBezTo>
                      <a:pt x="55" y="2060"/>
                      <a:pt x="101" y="2085"/>
                      <a:pt x="151" y="2085"/>
                    </a:cubicBezTo>
                    <a:cubicBezTo>
                      <a:pt x="365" y="2085"/>
                      <a:pt x="365" y="2085"/>
                      <a:pt x="365" y="2085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364"/>
                      <a:pt x="365" y="2364"/>
                      <a:pt x="365" y="2364"/>
                    </a:cubicBezTo>
                    <a:cubicBezTo>
                      <a:pt x="365" y="2455"/>
                      <a:pt x="389" y="2545"/>
                      <a:pt x="436" y="2630"/>
                    </a:cubicBezTo>
                    <a:cubicBezTo>
                      <a:pt x="480" y="2708"/>
                      <a:pt x="541" y="2780"/>
                      <a:pt x="618" y="2843"/>
                    </a:cubicBezTo>
                    <a:cubicBezTo>
                      <a:pt x="757" y="2956"/>
                      <a:pt x="936" y="3026"/>
                      <a:pt x="1105" y="3036"/>
                    </a:cubicBezTo>
                    <a:cubicBezTo>
                      <a:pt x="1105" y="3210"/>
                      <a:pt x="1105" y="3210"/>
                      <a:pt x="1105" y="3210"/>
                    </a:cubicBezTo>
                    <a:cubicBezTo>
                      <a:pt x="1181" y="3210"/>
                      <a:pt x="1181" y="3210"/>
                      <a:pt x="1181" y="3210"/>
                    </a:cubicBezTo>
                    <a:cubicBezTo>
                      <a:pt x="1181" y="2961"/>
                      <a:pt x="1181" y="2961"/>
                      <a:pt x="1181" y="2961"/>
                    </a:cubicBezTo>
                    <a:cubicBezTo>
                      <a:pt x="1143" y="2961"/>
                      <a:pt x="1143" y="2961"/>
                      <a:pt x="1143" y="2961"/>
                    </a:cubicBezTo>
                    <a:cubicBezTo>
                      <a:pt x="981" y="2961"/>
                      <a:pt x="802" y="2895"/>
                      <a:pt x="666" y="2783"/>
                    </a:cubicBezTo>
                    <a:cubicBezTo>
                      <a:pt x="521" y="2666"/>
                      <a:pt x="441" y="2517"/>
                      <a:pt x="441" y="2364"/>
                    </a:cubicBezTo>
                    <a:cubicBezTo>
                      <a:pt x="441" y="2364"/>
                      <a:pt x="441" y="2364"/>
                      <a:pt x="441" y="2364"/>
                    </a:cubicBezTo>
                    <a:cubicBezTo>
                      <a:pt x="441" y="2047"/>
                      <a:pt x="441" y="2047"/>
                      <a:pt x="441" y="2047"/>
                    </a:cubicBezTo>
                    <a:cubicBezTo>
                      <a:pt x="441" y="2026"/>
                      <a:pt x="424" y="2009"/>
                      <a:pt x="403" y="2009"/>
                    </a:cubicBezTo>
                    <a:cubicBezTo>
                      <a:pt x="151" y="2009"/>
                      <a:pt x="151" y="2009"/>
                      <a:pt x="151" y="2009"/>
                    </a:cubicBezTo>
                    <a:cubicBezTo>
                      <a:pt x="127" y="2009"/>
                      <a:pt x="106" y="1997"/>
                      <a:pt x="94" y="1977"/>
                    </a:cubicBezTo>
                    <a:cubicBezTo>
                      <a:pt x="81" y="1957"/>
                      <a:pt x="80" y="1933"/>
                      <a:pt x="90" y="1912"/>
                    </a:cubicBezTo>
                    <a:cubicBezTo>
                      <a:pt x="437" y="1272"/>
                      <a:pt x="437" y="1272"/>
                      <a:pt x="437" y="1272"/>
                    </a:cubicBezTo>
                    <a:cubicBezTo>
                      <a:pt x="440" y="1267"/>
                      <a:pt x="441" y="1260"/>
                      <a:pt x="441" y="1254"/>
                    </a:cubicBezTo>
                    <a:cubicBezTo>
                      <a:pt x="441" y="605"/>
                      <a:pt x="970" y="76"/>
                      <a:pt x="1619" y="76"/>
                    </a:cubicBezTo>
                    <a:cubicBezTo>
                      <a:pt x="2269" y="76"/>
                      <a:pt x="2797" y="605"/>
                      <a:pt x="2797" y="1254"/>
                    </a:cubicBezTo>
                    <a:cubicBezTo>
                      <a:pt x="2797" y="1548"/>
                      <a:pt x="2688" y="1830"/>
                      <a:pt x="2490" y="2047"/>
                    </a:cubicBezTo>
                    <a:cubicBezTo>
                      <a:pt x="2484" y="2054"/>
                      <a:pt x="2480" y="2063"/>
                      <a:pt x="2480" y="2073"/>
                    </a:cubicBezTo>
                    <a:cubicBezTo>
                      <a:pt x="2480" y="3210"/>
                      <a:pt x="2480" y="3210"/>
                      <a:pt x="2480" y="3210"/>
                    </a:cubicBezTo>
                    <a:cubicBezTo>
                      <a:pt x="2556" y="3210"/>
                      <a:pt x="2556" y="3210"/>
                      <a:pt x="2556" y="3210"/>
                    </a:cubicBezTo>
                    <a:cubicBezTo>
                      <a:pt x="2556" y="2088"/>
                      <a:pt x="2556" y="2088"/>
                      <a:pt x="2556" y="2088"/>
                    </a:cubicBezTo>
                    <a:cubicBezTo>
                      <a:pt x="2761" y="1858"/>
                      <a:pt x="2873" y="1562"/>
                      <a:pt x="2873" y="1254"/>
                    </a:cubicBezTo>
                    <a:cubicBezTo>
                      <a:pt x="2873" y="919"/>
                      <a:pt x="2743" y="604"/>
                      <a:pt x="2506" y="3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 descr="A group of people using laptops&#10;&#10;Description automatically generated">
              <a:extLst>
                <a:ext uri="{FF2B5EF4-FFF2-40B4-BE49-F238E27FC236}">
                  <a16:creationId xmlns:a16="http://schemas.microsoft.com/office/drawing/2014/main" id="{CE1E3EAD-CD89-D4C3-F656-DB3CF66C54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3646" b="4147"/>
            <a:stretch/>
          </p:blipFill>
          <p:spPr>
            <a:xfrm>
              <a:off x="14749847" y="1666875"/>
              <a:ext cx="4998865" cy="5044326"/>
            </a:xfrm>
            <a:prstGeom prst="rect">
              <a:avLst/>
            </a:prstGeom>
          </p:spPr>
        </p:pic>
        <p:pic>
          <p:nvPicPr>
            <p:cNvPr id="13" name="Picture 12" descr="A person wearing glasses and a lanyard&#10;&#10;Description automatically generated">
              <a:extLst>
                <a:ext uri="{FF2B5EF4-FFF2-40B4-BE49-F238E27FC236}">
                  <a16:creationId xmlns:a16="http://schemas.microsoft.com/office/drawing/2014/main" id="{8993B2AB-27BA-285B-936D-B8B136531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746297" y="6710404"/>
              <a:ext cx="2489359" cy="2410785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948DA9FB-7A60-03A2-30BF-33D137653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169655"/>
            <a:ext cx="5545751" cy="582871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CEE20336-CC8B-ADA8-185C-AE9487260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8851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96488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4BC1643-59D2-ABAC-0528-D7DF78C1B8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1308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margins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4126" y="284957"/>
            <a:ext cx="11620575" cy="629046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993671-0ACB-A41F-EB8D-C4B133D4A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009" y="838201"/>
            <a:ext cx="9143604" cy="2308225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F114BFC-17E3-BD51-B7D5-36F2A7EEEC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2636" y="3429000"/>
            <a:ext cx="9147427" cy="2527909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970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2F951-674D-A629-8F1F-8EF9A721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89" y="838201"/>
            <a:ext cx="11611844" cy="2308225"/>
          </a:xfrm>
        </p:spPr>
        <p:txBody>
          <a:bodyPr rIns="457200" anchor="b" anchorCtr="0"/>
          <a:lstStyle>
            <a:lvl1pPr algn="ctr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5210FE1-708F-5D01-65BE-B09B012659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999" y="3429000"/>
            <a:ext cx="11616701" cy="2527909"/>
          </a:xfrm>
        </p:spPr>
        <p:txBody>
          <a:bodyPr/>
          <a:lstStyle>
            <a:lvl1pPr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732D4F4-442B-9B8D-60D6-9CD8D60E6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18505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image, big text, bottom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7911" y="6452314"/>
            <a:ext cx="136789" cy="12311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D2AC99-2CAD-9FF7-4F8C-C01790911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417" y="160296"/>
            <a:ext cx="8569796" cy="3268705"/>
          </a:xfrm>
        </p:spPr>
        <p:txBody>
          <a:bodyPr/>
          <a:lstStyle>
            <a:lvl1pPr>
              <a:defRPr sz="86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4FCB43A-01A2-2558-5780-F4751C87B6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0921" y="4286251"/>
            <a:ext cx="5522193" cy="1712119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98D6CE8-F26C-9046-1DD1-CAFCF16F1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2214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cyan+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DF3BA29-E81F-2784-6F22-55C9D69D735C}"/>
              </a:ext>
            </a:extLst>
          </p:cNvPr>
          <p:cNvSpPr>
            <a:spLocks/>
          </p:cNvSpPr>
          <p:nvPr userDrawn="1"/>
        </p:nvSpPr>
        <p:spPr bwMode="auto">
          <a:xfrm>
            <a:off x="1" y="0"/>
            <a:ext cx="3047604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570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7"/>
            <a:ext cx="247389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249267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0857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4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763524"/>
            <a:ext cx="5049180" cy="4668838"/>
          </a:xfrm>
        </p:spPr>
        <p:txBody>
          <a:bodyPr/>
          <a:lstStyle>
            <a:lvl1pPr>
              <a:lnSpc>
                <a:spcPct val="100000"/>
              </a:lnSpc>
              <a:defRPr sz="42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0" y="288036"/>
            <a:ext cx="5049180" cy="285751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8" y="6263482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89426"/>
      </p:ext>
    </p:extLst>
  </p:cSld>
  <p:clrMapOvr>
    <a:masterClrMapping/>
  </p:clrMapOvr>
  <p:transition spd="med"/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text, white+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46CC3A1-4537-FC29-D1E2-9858E5E2B3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999" y="1717767"/>
            <a:ext cx="2473892" cy="4286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29BAF6E-9877-855F-9A5E-2AFA760A8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249267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0039F55-4DA1-0F76-E4F4-FC3FFABD73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BE503C-A69C-5EFC-BA7A-97308B436F87}"/>
              </a:ext>
            </a:extLst>
          </p:cNvPr>
          <p:cNvSpPr/>
          <p:nvPr userDrawn="1"/>
        </p:nvSpPr>
        <p:spPr bwMode="auto">
          <a:xfrm>
            <a:off x="3047603" y="0"/>
            <a:ext cx="9144397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570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80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heading,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7"/>
            <a:ext cx="11631520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98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E1F66A6-2402-265D-0101-B6536490AFAC}"/>
              </a:ext>
            </a:extLst>
          </p:cNvPr>
          <p:cNvSpPr>
            <a:spLocks/>
          </p:cNvSpPr>
          <p:nvPr userDrawn="1"/>
        </p:nvSpPr>
        <p:spPr bwMode="auto">
          <a:xfrm>
            <a:off x="6095208" y="0"/>
            <a:ext cx="6096793" cy="685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952" tIns="60952" rIns="60952" bIns="60952" numCol="1" rtlCol="0" anchor="t" anchorCtr="0" compatLnSpc="1">
            <a:prstTxWarp prst="textNoShape">
              <a:avLst/>
            </a:prstTxWarp>
          </a:bodyPr>
          <a:lstStyle/>
          <a:p>
            <a:pPr defTabSz="609570" fontAlgn="base">
              <a:spcBef>
                <a:spcPct val="0"/>
              </a:spcBef>
              <a:spcAft>
                <a:spcPct val="0"/>
              </a:spcAft>
            </a:pPr>
            <a:endParaRPr lang="en-US" sz="933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F199AD-99F5-8A31-D55D-6EA7FE65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16610E-CC1C-9D9D-DB96-DEDE65B2F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99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9EE314B-511F-9A49-0794-209E594425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80031" y="1212112"/>
            <a:ext cx="5520701" cy="350875"/>
          </a:xfrm>
        </p:spPr>
        <p:txBody>
          <a:bodyPr anchor="t" anchorCtr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9494A4E-96C8-934A-2BEF-CA4D3BB18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2" y="191938"/>
            <a:ext cx="5542757" cy="984885"/>
          </a:xfrm>
        </p:spPr>
        <p:txBody>
          <a:bodyPr rIns="457200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5665D22-4DC3-21E1-0450-1EE2C28B9B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80126" y="191938"/>
            <a:ext cx="5542828" cy="492919"/>
          </a:xfrm>
          <a:ln>
            <a:noFill/>
          </a:ln>
        </p:spPr>
        <p:txBody>
          <a:bodyPr/>
          <a:lstStyle>
            <a:lvl1pPr>
              <a:defRPr lang="en-US" sz="3200" b="0" i="0" u="none" strike="noStrike" cap="none" spc="0" baseline="0" dirty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AE8B7DB9-996A-C58F-4CBB-E199A8CCE1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9404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5"/>
            <a:ext cx="2474591" cy="762795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999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278" y="30232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999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14278" y="47250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87999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14278" y="12960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77745" y="30607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807897" y="30232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77745" y="4762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07897" y="47250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77745" y="1333500"/>
            <a:ext cx="1236501" cy="1238251"/>
          </a:xfrm>
          <a:solidFill>
            <a:srgbClr val="E0E0E0"/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807897" y="1296009"/>
            <a:ext cx="2853953" cy="12382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8013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6026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4038" indent="-128013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111CE7A-DCC6-C6F9-EFAF-A6237664B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1852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50546"/>
            <a:ext cx="2474591" cy="763524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3A9828E-59C5-8F35-8188-B2E56BD7E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594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86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4CC2ED5C-4106-4DAB-0D25-FB50E33CA4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3048000"/>
            <a:ext cx="6096001" cy="3048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02F5B7-9038-3AE2-621E-A2E9A1929D4A}"/>
              </a:ext>
            </a:extLst>
          </p:cNvPr>
          <p:cNvSpPr/>
          <p:nvPr userDrawn="1"/>
        </p:nvSpPr>
        <p:spPr bwMode="auto">
          <a:xfrm>
            <a:off x="6096000" y="0"/>
            <a:ext cx="3047603" cy="3048000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9143603" y="3048000"/>
            <a:ext cx="3047603" cy="30480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28523" y="3429001"/>
            <a:ext cx="2474591" cy="2373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160B3E-5D79-4A62-FCA2-1B484BEE3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0646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62CE6B-0DAF-9C00-3396-9CE36E1C1BA0}"/>
              </a:ext>
            </a:extLst>
          </p:cNvPr>
          <p:cNvSpPr/>
          <p:nvPr userDrawn="1"/>
        </p:nvSpPr>
        <p:spPr bwMode="auto">
          <a:xfrm>
            <a:off x="6096002" y="2571751"/>
            <a:ext cx="6095205" cy="3453912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048001"/>
            <a:ext cx="5519813" cy="2754923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E7CC6F1F-41E2-5A91-1CE7-497492742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9548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D84389E-2F2D-9416-2656-943C7107E99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53157" y="2981575"/>
            <a:ext cx="2742843" cy="27432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76203F-C24F-2617-30C6-D86779E1B495}"/>
              </a:ext>
            </a:extLst>
          </p:cNvPr>
          <p:cNvSpPr/>
          <p:nvPr userDrawn="1"/>
        </p:nvSpPr>
        <p:spPr bwMode="auto">
          <a:xfrm>
            <a:off x="6093972" y="2981575"/>
            <a:ext cx="6097235" cy="274320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21904" tIns="121904" rIns="121904" bIns="121904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1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33F7B7-5AD6-1E43-4FD9-3C700AC2C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13" y="191937"/>
            <a:ext cx="5539489" cy="1429544"/>
          </a:xfrm>
        </p:spPr>
        <p:txBody>
          <a:bodyPr rIns="457200"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F6371F-3AE6-2B80-8833-B0E2027EB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3300" y="3393849"/>
            <a:ext cx="5519813" cy="1749652"/>
          </a:xfr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1pPr>
            <a:lvl2pPr marL="128013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2pPr>
            <a:lvl3pPr marL="256026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3pPr>
            <a:lvl4pPr marL="384038" indent="-128013">
              <a:spcBef>
                <a:spcPts val="0"/>
              </a:spcBef>
              <a:spcAft>
                <a:spcPts val="1800"/>
              </a:spcAft>
              <a:defRPr sz="1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378BCC9-F931-23B3-1F50-B47B00613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5856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2005" y="3084231"/>
            <a:ext cx="1727991" cy="68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83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2477765" cy="2286794"/>
          </a:xfrm>
        </p:spPr>
        <p:txBody>
          <a:bodyPr/>
          <a:lstStyle>
            <a:lvl1pPr>
              <a:lnSpc>
                <a:spcPct val="100000"/>
              </a:lnSpc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8"/>
            <a:ext cx="2476178" cy="5715794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1" y="284958"/>
            <a:ext cx="2474591" cy="5715794"/>
          </a:xfrm>
        </p:spPr>
        <p:txBody>
          <a:bodyPr/>
          <a:lstStyle>
            <a:lvl1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419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8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610841"/>
      </p:ext>
    </p:extLst>
  </p:cSld>
  <p:clrMapOvr>
    <a:masterClrMapping/>
  </p:clrMapOvr>
  <p:transition spd="med"/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4"/>
            <a:ext cx="2477765" cy="228679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9" cy="5715795"/>
          </a:xfrm>
        </p:spPr>
        <p:txBody>
          <a:bodyPr/>
          <a:lstStyle>
            <a:lvl1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1" y="284957"/>
            <a:ext cx="2474589" cy="5715795"/>
          </a:xfrm>
        </p:spPr>
        <p:txBody>
          <a:bodyPr/>
          <a:lstStyle>
            <a:lvl1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1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0" y="6469421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CEECD73-1869-3DB0-AA71-BA427640113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6" y="6402119"/>
            <a:ext cx="2477765" cy="190500"/>
          </a:xfrm>
        </p:spPr>
        <p:txBody>
          <a:bodyPr/>
          <a:lstStyle/>
          <a:p>
            <a:r>
              <a:rPr lang="en-US" dirty="0"/>
              <a:t>IBM Software | © 2023 IBM Corporation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8811113"/>
      </p:ext>
    </p:extLst>
  </p:cSld>
  <p:clrMapOvr>
    <a:masterClrMapping/>
  </p:clrMapOvr>
  <p:transition spd="med"/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12192000" cy="60007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6"/>
            <a:ext cx="5524575" cy="31440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1" y="6044186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8" y="6042371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7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75417"/>
      </p:ext>
    </p:extLst>
  </p:cSld>
  <p:clrMapOvr>
    <a:masterClrMapping/>
  </p:clrMapOvr>
  <p:transition spd="med"/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2"/>
            <a:ext cx="12192000" cy="6000751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9" tIns="45709" rIns="45709" bIns="45709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1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7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24575" cy="2286795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1" y="6044186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5318" y="6042371"/>
            <a:ext cx="2468623" cy="5715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 marL="127989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 marL="255978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 marL="383966" indent="-127989"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7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298733"/>
      </p:ext>
    </p:extLst>
  </p:cSld>
  <p:clrMapOvr>
    <a:masterClrMapping/>
  </p:clrMapOvr>
  <p:transition spd="med"/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24575" cy="2286795"/>
          </a:xfrm>
        </p:spPr>
        <p:txBody>
          <a:bodyPr/>
          <a:lstStyle>
            <a:lvl1pPr>
              <a:lnSpc>
                <a:spcPct val="100000"/>
              </a:lnSpc>
              <a:defRPr sz="42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7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41812"/>
      </p:ext>
    </p:extLst>
  </p:cSld>
  <p:clrMapOvr>
    <a:masterClrMapping/>
  </p:clrMapOvr>
  <p:transition spd="med"/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5"/>
            <a:ext cx="5524575" cy="2286795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001" y="6231636"/>
            <a:ext cx="5524575" cy="381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38527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030353"/>
      </p:ext>
    </p:extLst>
  </p:cSld>
  <p:clrMapOvr>
    <a:masterClrMapping/>
  </p:clrMapOvr>
  <p:transition spd="med"/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4"/>
            <a:ext cx="5049879" cy="5239544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109612"/>
      </p:ext>
    </p:extLst>
  </p:cSld>
  <p:clrMapOvr>
    <a:masterClrMapping/>
  </p:clrMapOvr>
  <p:transition spd="med"/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80920" y="284958"/>
            <a:ext cx="5523781" cy="6287295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763525"/>
            <a:ext cx="5049180" cy="4668839"/>
          </a:xfrm>
        </p:spPr>
        <p:txBody>
          <a:bodyPr/>
          <a:lstStyle>
            <a:lvl1pPr>
              <a:lnSpc>
                <a:spcPct val="100000"/>
              </a:lnSpc>
              <a:defRPr sz="42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001" y="288036"/>
            <a:ext cx="5049180" cy="285751"/>
          </a:xfrm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8889" y="6263483"/>
            <a:ext cx="819044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00555"/>
      </p:ext>
    </p:extLst>
  </p:cSld>
  <p:clrMapOvr>
    <a:masterClrMapping/>
  </p:clrMapOvr>
  <p:transition spd="med"/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192025"/>
            <a:ext cx="2477765" cy="2286795"/>
          </a:xfrm>
        </p:spPr>
        <p:txBody>
          <a:bodyPr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284957"/>
            <a:ext cx="2476179" cy="5715795"/>
          </a:xfrm>
        </p:spPr>
        <p:txBody>
          <a:bodyPr/>
          <a:lstStyle>
            <a:lvl1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30111" y="284957"/>
            <a:ext cx="2474591" cy="5715795"/>
          </a:xfrm>
        </p:spPr>
        <p:txBody>
          <a:bodyPr/>
          <a:lstStyle>
            <a:lvl1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58052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969559"/>
      </p:ext>
    </p:extLst>
  </p:cSld>
  <p:clrMapOvr>
    <a:masterClrMapping/>
  </p:clrMapOvr>
  <p:transition spd="med"/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1" y="192024"/>
            <a:ext cx="5524575" cy="1429544"/>
          </a:xfrm>
        </p:spPr>
        <p:txBody>
          <a:bodyPr rIns="457200"/>
          <a:lstStyle>
            <a:lvl1pPr>
              <a:lnSpc>
                <a:spcPct val="100000"/>
              </a:lnSpc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426871"/>
      </p:ext>
    </p:extLst>
  </p:cSld>
  <p:clrMapOvr>
    <a:masterClrMapping/>
  </p:clrMapOvr>
  <p:transition spd="med"/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02" y="210314"/>
            <a:ext cx="8569796" cy="4095751"/>
          </a:xfrm>
        </p:spPr>
        <p:txBody>
          <a:bodyPr/>
          <a:lstStyle>
            <a:lvl1pPr>
              <a:defRPr sz="8598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767911" y="6469422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84127" y="6402119"/>
            <a:ext cx="2477765" cy="1905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50271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4.xml"/><Relationship Id="rId18" Type="http://schemas.openxmlformats.org/officeDocument/2006/relationships/slideLayout" Target="../slideLayouts/slideLayout549.xml"/><Relationship Id="rId26" Type="http://schemas.openxmlformats.org/officeDocument/2006/relationships/slideLayout" Target="../slideLayouts/slideLayout557.xml"/><Relationship Id="rId39" Type="http://schemas.openxmlformats.org/officeDocument/2006/relationships/slideLayout" Target="../slideLayouts/slideLayout570.xml"/><Relationship Id="rId21" Type="http://schemas.openxmlformats.org/officeDocument/2006/relationships/slideLayout" Target="../slideLayouts/slideLayout552.xml"/><Relationship Id="rId34" Type="http://schemas.openxmlformats.org/officeDocument/2006/relationships/slideLayout" Target="../slideLayouts/slideLayout565.xml"/><Relationship Id="rId42" Type="http://schemas.openxmlformats.org/officeDocument/2006/relationships/slideLayout" Target="../slideLayouts/slideLayout573.xml"/><Relationship Id="rId47" Type="http://schemas.openxmlformats.org/officeDocument/2006/relationships/theme" Target="../theme/theme10.xml"/><Relationship Id="rId7" Type="http://schemas.openxmlformats.org/officeDocument/2006/relationships/slideLayout" Target="../slideLayouts/slideLayout538.xml"/><Relationship Id="rId2" Type="http://schemas.openxmlformats.org/officeDocument/2006/relationships/slideLayout" Target="../slideLayouts/slideLayout533.xml"/><Relationship Id="rId16" Type="http://schemas.openxmlformats.org/officeDocument/2006/relationships/slideLayout" Target="../slideLayouts/slideLayout547.xml"/><Relationship Id="rId29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32.xml"/><Relationship Id="rId6" Type="http://schemas.openxmlformats.org/officeDocument/2006/relationships/slideLayout" Target="../slideLayouts/slideLayout537.xml"/><Relationship Id="rId11" Type="http://schemas.openxmlformats.org/officeDocument/2006/relationships/slideLayout" Target="../slideLayouts/slideLayout542.xml"/><Relationship Id="rId24" Type="http://schemas.openxmlformats.org/officeDocument/2006/relationships/slideLayout" Target="../slideLayouts/slideLayout555.xml"/><Relationship Id="rId32" Type="http://schemas.openxmlformats.org/officeDocument/2006/relationships/slideLayout" Target="../slideLayouts/slideLayout563.xml"/><Relationship Id="rId37" Type="http://schemas.openxmlformats.org/officeDocument/2006/relationships/slideLayout" Target="../slideLayouts/slideLayout568.xml"/><Relationship Id="rId40" Type="http://schemas.openxmlformats.org/officeDocument/2006/relationships/slideLayout" Target="../slideLayouts/slideLayout571.xml"/><Relationship Id="rId45" Type="http://schemas.openxmlformats.org/officeDocument/2006/relationships/slideLayout" Target="../slideLayouts/slideLayout576.xml"/><Relationship Id="rId5" Type="http://schemas.openxmlformats.org/officeDocument/2006/relationships/slideLayout" Target="../slideLayouts/slideLayout536.xml"/><Relationship Id="rId15" Type="http://schemas.openxmlformats.org/officeDocument/2006/relationships/slideLayout" Target="../slideLayouts/slideLayout546.xml"/><Relationship Id="rId23" Type="http://schemas.openxmlformats.org/officeDocument/2006/relationships/slideLayout" Target="../slideLayouts/slideLayout554.xml"/><Relationship Id="rId28" Type="http://schemas.openxmlformats.org/officeDocument/2006/relationships/slideLayout" Target="../slideLayouts/slideLayout559.xml"/><Relationship Id="rId36" Type="http://schemas.openxmlformats.org/officeDocument/2006/relationships/slideLayout" Target="../slideLayouts/slideLayout567.xml"/><Relationship Id="rId10" Type="http://schemas.openxmlformats.org/officeDocument/2006/relationships/slideLayout" Target="../slideLayouts/slideLayout541.xml"/><Relationship Id="rId19" Type="http://schemas.openxmlformats.org/officeDocument/2006/relationships/slideLayout" Target="../slideLayouts/slideLayout550.xml"/><Relationship Id="rId31" Type="http://schemas.openxmlformats.org/officeDocument/2006/relationships/slideLayout" Target="../slideLayouts/slideLayout562.xml"/><Relationship Id="rId44" Type="http://schemas.openxmlformats.org/officeDocument/2006/relationships/slideLayout" Target="../slideLayouts/slideLayout575.xml"/><Relationship Id="rId4" Type="http://schemas.openxmlformats.org/officeDocument/2006/relationships/slideLayout" Target="../slideLayouts/slideLayout535.xml"/><Relationship Id="rId9" Type="http://schemas.openxmlformats.org/officeDocument/2006/relationships/slideLayout" Target="../slideLayouts/slideLayout540.xml"/><Relationship Id="rId14" Type="http://schemas.openxmlformats.org/officeDocument/2006/relationships/slideLayout" Target="../slideLayouts/slideLayout545.xml"/><Relationship Id="rId22" Type="http://schemas.openxmlformats.org/officeDocument/2006/relationships/slideLayout" Target="../slideLayouts/slideLayout553.xml"/><Relationship Id="rId27" Type="http://schemas.openxmlformats.org/officeDocument/2006/relationships/slideLayout" Target="../slideLayouts/slideLayout558.xml"/><Relationship Id="rId30" Type="http://schemas.openxmlformats.org/officeDocument/2006/relationships/slideLayout" Target="../slideLayouts/slideLayout561.xml"/><Relationship Id="rId35" Type="http://schemas.openxmlformats.org/officeDocument/2006/relationships/slideLayout" Target="../slideLayouts/slideLayout566.xml"/><Relationship Id="rId43" Type="http://schemas.openxmlformats.org/officeDocument/2006/relationships/slideLayout" Target="../slideLayouts/slideLayout574.xml"/><Relationship Id="rId8" Type="http://schemas.openxmlformats.org/officeDocument/2006/relationships/slideLayout" Target="../slideLayouts/slideLayout539.xml"/><Relationship Id="rId3" Type="http://schemas.openxmlformats.org/officeDocument/2006/relationships/slideLayout" Target="../slideLayouts/slideLayout534.xml"/><Relationship Id="rId12" Type="http://schemas.openxmlformats.org/officeDocument/2006/relationships/slideLayout" Target="../slideLayouts/slideLayout543.xml"/><Relationship Id="rId17" Type="http://schemas.openxmlformats.org/officeDocument/2006/relationships/slideLayout" Target="../slideLayouts/slideLayout548.xml"/><Relationship Id="rId25" Type="http://schemas.openxmlformats.org/officeDocument/2006/relationships/slideLayout" Target="../slideLayouts/slideLayout556.xml"/><Relationship Id="rId33" Type="http://schemas.openxmlformats.org/officeDocument/2006/relationships/slideLayout" Target="../slideLayouts/slideLayout564.xml"/><Relationship Id="rId38" Type="http://schemas.openxmlformats.org/officeDocument/2006/relationships/slideLayout" Target="../slideLayouts/slideLayout569.xml"/><Relationship Id="rId46" Type="http://schemas.openxmlformats.org/officeDocument/2006/relationships/slideLayout" Target="../slideLayouts/slideLayout577.xml"/><Relationship Id="rId20" Type="http://schemas.openxmlformats.org/officeDocument/2006/relationships/slideLayout" Target="../slideLayouts/slideLayout551.xml"/><Relationship Id="rId41" Type="http://schemas.openxmlformats.org/officeDocument/2006/relationships/slideLayout" Target="../slideLayouts/slideLayout572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0.xml"/><Relationship Id="rId18" Type="http://schemas.openxmlformats.org/officeDocument/2006/relationships/slideLayout" Target="../slideLayouts/slideLayout595.xml"/><Relationship Id="rId26" Type="http://schemas.openxmlformats.org/officeDocument/2006/relationships/slideLayout" Target="../slideLayouts/slideLayout603.xml"/><Relationship Id="rId39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598.xml"/><Relationship Id="rId34" Type="http://schemas.openxmlformats.org/officeDocument/2006/relationships/slideLayout" Target="../slideLayouts/slideLayout611.xml"/><Relationship Id="rId42" Type="http://schemas.openxmlformats.org/officeDocument/2006/relationships/slideLayout" Target="../slideLayouts/slideLayout619.xml"/><Relationship Id="rId7" Type="http://schemas.openxmlformats.org/officeDocument/2006/relationships/slideLayout" Target="../slideLayouts/slideLayout584.xml"/><Relationship Id="rId2" Type="http://schemas.openxmlformats.org/officeDocument/2006/relationships/slideLayout" Target="../slideLayouts/slideLayout579.xml"/><Relationship Id="rId16" Type="http://schemas.openxmlformats.org/officeDocument/2006/relationships/slideLayout" Target="../slideLayouts/slideLayout593.xml"/><Relationship Id="rId20" Type="http://schemas.openxmlformats.org/officeDocument/2006/relationships/slideLayout" Target="../slideLayouts/slideLayout597.xml"/><Relationship Id="rId29" Type="http://schemas.openxmlformats.org/officeDocument/2006/relationships/slideLayout" Target="../slideLayouts/slideLayout606.xml"/><Relationship Id="rId41" Type="http://schemas.openxmlformats.org/officeDocument/2006/relationships/slideLayout" Target="../slideLayouts/slideLayout618.xml"/><Relationship Id="rId1" Type="http://schemas.openxmlformats.org/officeDocument/2006/relationships/slideLayout" Target="../slideLayouts/slideLayout578.xml"/><Relationship Id="rId6" Type="http://schemas.openxmlformats.org/officeDocument/2006/relationships/slideLayout" Target="../slideLayouts/slideLayout583.xml"/><Relationship Id="rId11" Type="http://schemas.openxmlformats.org/officeDocument/2006/relationships/slideLayout" Target="../slideLayouts/slideLayout588.xml"/><Relationship Id="rId24" Type="http://schemas.openxmlformats.org/officeDocument/2006/relationships/slideLayout" Target="../slideLayouts/slideLayout601.xml"/><Relationship Id="rId32" Type="http://schemas.openxmlformats.org/officeDocument/2006/relationships/slideLayout" Target="../slideLayouts/slideLayout609.xml"/><Relationship Id="rId37" Type="http://schemas.openxmlformats.org/officeDocument/2006/relationships/slideLayout" Target="../slideLayouts/slideLayout614.xml"/><Relationship Id="rId40" Type="http://schemas.openxmlformats.org/officeDocument/2006/relationships/slideLayout" Target="../slideLayouts/slideLayout617.xml"/><Relationship Id="rId5" Type="http://schemas.openxmlformats.org/officeDocument/2006/relationships/slideLayout" Target="../slideLayouts/slideLayout582.xml"/><Relationship Id="rId15" Type="http://schemas.openxmlformats.org/officeDocument/2006/relationships/slideLayout" Target="../slideLayouts/slideLayout592.xml"/><Relationship Id="rId23" Type="http://schemas.openxmlformats.org/officeDocument/2006/relationships/slideLayout" Target="../slideLayouts/slideLayout600.xml"/><Relationship Id="rId28" Type="http://schemas.openxmlformats.org/officeDocument/2006/relationships/slideLayout" Target="../slideLayouts/slideLayout605.xml"/><Relationship Id="rId36" Type="http://schemas.openxmlformats.org/officeDocument/2006/relationships/slideLayout" Target="../slideLayouts/slideLayout613.xml"/><Relationship Id="rId10" Type="http://schemas.openxmlformats.org/officeDocument/2006/relationships/slideLayout" Target="../slideLayouts/slideLayout587.xml"/><Relationship Id="rId19" Type="http://schemas.openxmlformats.org/officeDocument/2006/relationships/slideLayout" Target="../slideLayouts/slideLayout596.xml"/><Relationship Id="rId31" Type="http://schemas.openxmlformats.org/officeDocument/2006/relationships/slideLayout" Target="../slideLayouts/slideLayout608.xml"/><Relationship Id="rId4" Type="http://schemas.openxmlformats.org/officeDocument/2006/relationships/slideLayout" Target="../slideLayouts/slideLayout581.xml"/><Relationship Id="rId9" Type="http://schemas.openxmlformats.org/officeDocument/2006/relationships/slideLayout" Target="../slideLayouts/slideLayout586.xml"/><Relationship Id="rId14" Type="http://schemas.openxmlformats.org/officeDocument/2006/relationships/slideLayout" Target="../slideLayouts/slideLayout591.xml"/><Relationship Id="rId22" Type="http://schemas.openxmlformats.org/officeDocument/2006/relationships/slideLayout" Target="../slideLayouts/slideLayout599.xml"/><Relationship Id="rId27" Type="http://schemas.openxmlformats.org/officeDocument/2006/relationships/slideLayout" Target="../slideLayouts/slideLayout604.xml"/><Relationship Id="rId30" Type="http://schemas.openxmlformats.org/officeDocument/2006/relationships/slideLayout" Target="../slideLayouts/slideLayout607.xml"/><Relationship Id="rId35" Type="http://schemas.openxmlformats.org/officeDocument/2006/relationships/slideLayout" Target="../slideLayouts/slideLayout612.xml"/><Relationship Id="rId43" Type="http://schemas.openxmlformats.org/officeDocument/2006/relationships/theme" Target="../theme/theme11.xml"/><Relationship Id="rId8" Type="http://schemas.openxmlformats.org/officeDocument/2006/relationships/slideLayout" Target="../slideLayouts/slideLayout585.xml"/><Relationship Id="rId3" Type="http://schemas.openxmlformats.org/officeDocument/2006/relationships/slideLayout" Target="../slideLayouts/slideLayout580.xml"/><Relationship Id="rId12" Type="http://schemas.openxmlformats.org/officeDocument/2006/relationships/slideLayout" Target="../slideLayouts/slideLayout589.xml"/><Relationship Id="rId17" Type="http://schemas.openxmlformats.org/officeDocument/2006/relationships/slideLayout" Target="../slideLayouts/slideLayout594.xml"/><Relationship Id="rId25" Type="http://schemas.openxmlformats.org/officeDocument/2006/relationships/slideLayout" Target="../slideLayouts/slideLayout602.xml"/><Relationship Id="rId33" Type="http://schemas.openxmlformats.org/officeDocument/2006/relationships/slideLayout" Target="../slideLayouts/slideLayout610.xml"/><Relationship Id="rId38" Type="http://schemas.openxmlformats.org/officeDocument/2006/relationships/slideLayout" Target="../slideLayouts/slideLayout615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2.xml"/><Relationship Id="rId18" Type="http://schemas.openxmlformats.org/officeDocument/2006/relationships/slideLayout" Target="../slideLayouts/slideLayout637.xml"/><Relationship Id="rId26" Type="http://schemas.openxmlformats.org/officeDocument/2006/relationships/slideLayout" Target="../slideLayouts/slideLayout645.xml"/><Relationship Id="rId39" Type="http://schemas.openxmlformats.org/officeDocument/2006/relationships/slideLayout" Target="../slideLayouts/slideLayout658.xml"/><Relationship Id="rId21" Type="http://schemas.openxmlformats.org/officeDocument/2006/relationships/slideLayout" Target="../slideLayouts/slideLayout640.xml"/><Relationship Id="rId34" Type="http://schemas.openxmlformats.org/officeDocument/2006/relationships/slideLayout" Target="../slideLayouts/slideLayout653.xml"/><Relationship Id="rId42" Type="http://schemas.openxmlformats.org/officeDocument/2006/relationships/slideLayout" Target="../slideLayouts/slideLayout661.xml"/><Relationship Id="rId7" Type="http://schemas.openxmlformats.org/officeDocument/2006/relationships/slideLayout" Target="../slideLayouts/slideLayout626.xml"/><Relationship Id="rId2" Type="http://schemas.openxmlformats.org/officeDocument/2006/relationships/slideLayout" Target="../slideLayouts/slideLayout621.xml"/><Relationship Id="rId16" Type="http://schemas.openxmlformats.org/officeDocument/2006/relationships/slideLayout" Target="../slideLayouts/slideLayout635.xml"/><Relationship Id="rId29" Type="http://schemas.openxmlformats.org/officeDocument/2006/relationships/slideLayout" Target="../slideLayouts/slideLayout648.xml"/><Relationship Id="rId1" Type="http://schemas.openxmlformats.org/officeDocument/2006/relationships/slideLayout" Target="../slideLayouts/slideLayout620.xml"/><Relationship Id="rId6" Type="http://schemas.openxmlformats.org/officeDocument/2006/relationships/slideLayout" Target="../slideLayouts/slideLayout625.xml"/><Relationship Id="rId11" Type="http://schemas.openxmlformats.org/officeDocument/2006/relationships/slideLayout" Target="../slideLayouts/slideLayout630.xml"/><Relationship Id="rId24" Type="http://schemas.openxmlformats.org/officeDocument/2006/relationships/slideLayout" Target="../slideLayouts/slideLayout643.xml"/><Relationship Id="rId32" Type="http://schemas.openxmlformats.org/officeDocument/2006/relationships/slideLayout" Target="../slideLayouts/slideLayout651.xml"/><Relationship Id="rId37" Type="http://schemas.openxmlformats.org/officeDocument/2006/relationships/slideLayout" Target="../slideLayouts/slideLayout656.xml"/><Relationship Id="rId40" Type="http://schemas.openxmlformats.org/officeDocument/2006/relationships/slideLayout" Target="../slideLayouts/slideLayout659.xml"/><Relationship Id="rId45" Type="http://schemas.openxmlformats.org/officeDocument/2006/relationships/slideLayout" Target="../slideLayouts/slideLayout664.xml"/><Relationship Id="rId5" Type="http://schemas.openxmlformats.org/officeDocument/2006/relationships/slideLayout" Target="../slideLayouts/slideLayout624.xml"/><Relationship Id="rId15" Type="http://schemas.openxmlformats.org/officeDocument/2006/relationships/slideLayout" Target="../slideLayouts/slideLayout634.xml"/><Relationship Id="rId23" Type="http://schemas.openxmlformats.org/officeDocument/2006/relationships/slideLayout" Target="../slideLayouts/slideLayout642.xml"/><Relationship Id="rId28" Type="http://schemas.openxmlformats.org/officeDocument/2006/relationships/slideLayout" Target="../slideLayouts/slideLayout647.xml"/><Relationship Id="rId36" Type="http://schemas.openxmlformats.org/officeDocument/2006/relationships/slideLayout" Target="../slideLayouts/slideLayout655.xml"/><Relationship Id="rId10" Type="http://schemas.openxmlformats.org/officeDocument/2006/relationships/slideLayout" Target="../slideLayouts/slideLayout629.xml"/><Relationship Id="rId19" Type="http://schemas.openxmlformats.org/officeDocument/2006/relationships/slideLayout" Target="../slideLayouts/slideLayout638.xml"/><Relationship Id="rId31" Type="http://schemas.openxmlformats.org/officeDocument/2006/relationships/slideLayout" Target="../slideLayouts/slideLayout650.xml"/><Relationship Id="rId44" Type="http://schemas.openxmlformats.org/officeDocument/2006/relationships/slideLayout" Target="../slideLayouts/slideLayout663.xml"/><Relationship Id="rId4" Type="http://schemas.openxmlformats.org/officeDocument/2006/relationships/slideLayout" Target="../slideLayouts/slideLayout623.xml"/><Relationship Id="rId9" Type="http://schemas.openxmlformats.org/officeDocument/2006/relationships/slideLayout" Target="../slideLayouts/slideLayout628.xml"/><Relationship Id="rId14" Type="http://schemas.openxmlformats.org/officeDocument/2006/relationships/slideLayout" Target="../slideLayouts/slideLayout633.xml"/><Relationship Id="rId22" Type="http://schemas.openxmlformats.org/officeDocument/2006/relationships/slideLayout" Target="../slideLayouts/slideLayout641.xml"/><Relationship Id="rId27" Type="http://schemas.openxmlformats.org/officeDocument/2006/relationships/slideLayout" Target="../slideLayouts/slideLayout646.xml"/><Relationship Id="rId30" Type="http://schemas.openxmlformats.org/officeDocument/2006/relationships/slideLayout" Target="../slideLayouts/slideLayout649.xml"/><Relationship Id="rId35" Type="http://schemas.openxmlformats.org/officeDocument/2006/relationships/slideLayout" Target="../slideLayouts/slideLayout654.xml"/><Relationship Id="rId43" Type="http://schemas.openxmlformats.org/officeDocument/2006/relationships/slideLayout" Target="../slideLayouts/slideLayout662.xml"/><Relationship Id="rId8" Type="http://schemas.openxmlformats.org/officeDocument/2006/relationships/slideLayout" Target="../slideLayouts/slideLayout627.xml"/><Relationship Id="rId3" Type="http://schemas.openxmlformats.org/officeDocument/2006/relationships/slideLayout" Target="../slideLayouts/slideLayout622.xml"/><Relationship Id="rId12" Type="http://schemas.openxmlformats.org/officeDocument/2006/relationships/slideLayout" Target="../slideLayouts/slideLayout631.xml"/><Relationship Id="rId17" Type="http://schemas.openxmlformats.org/officeDocument/2006/relationships/slideLayout" Target="../slideLayouts/slideLayout636.xml"/><Relationship Id="rId25" Type="http://schemas.openxmlformats.org/officeDocument/2006/relationships/slideLayout" Target="../slideLayouts/slideLayout644.xml"/><Relationship Id="rId33" Type="http://schemas.openxmlformats.org/officeDocument/2006/relationships/slideLayout" Target="../slideLayouts/slideLayout652.xml"/><Relationship Id="rId38" Type="http://schemas.openxmlformats.org/officeDocument/2006/relationships/slideLayout" Target="../slideLayouts/slideLayout657.xml"/><Relationship Id="rId46" Type="http://schemas.openxmlformats.org/officeDocument/2006/relationships/theme" Target="../theme/theme12.xml"/><Relationship Id="rId20" Type="http://schemas.openxmlformats.org/officeDocument/2006/relationships/slideLayout" Target="../slideLayouts/slideLayout639.xml"/><Relationship Id="rId41" Type="http://schemas.openxmlformats.org/officeDocument/2006/relationships/slideLayout" Target="../slideLayouts/slideLayout660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7.xml"/><Relationship Id="rId18" Type="http://schemas.openxmlformats.org/officeDocument/2006/relationships/slideLayout" Target="../slideLayouts/slideLayout682.xml"/><Relationship Id="rId26" Type="http://schemas.openxmlformats.org/officeDocument/2006/relationships/slideLayout" Target="../slideLayouts/slideLayout690.xml"/><Relationship Id="rId39" Type="http://schemas.openxmlformats.org/officeDocument/2006/relationships/slideLayout" Target="../slideLayouts/slideLayout703.xml"/><Relationship Id="rId21" Type="http://schemas.openxmlformats.org/officeDocument/2006/relationships/slideLayout" Target="../slideLayouts/slideLayout685.xml"/><Relationship Id="rId34" Type="http://schemas.openxmlformats.org/officeDocument/2006/relationships/slideLayout" Target="../slideLayouts/slideLayout698.xml"/><Relationship Id="rId42" Type="http://schemas.openxmlformats.org/officeDocument/2006/relationships/slideLayout" Target="../slideLayouts/slideLayout706.xml"/><Relationship Id="rId47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6" Type="http://schemas.openxmlformats.org/officeDocument/2006/relationships/slideLayout" Target="../slideLayouts/slideLayout680.xml"/><Relationship Id="rId29" Type="http://schemas.openxmlformats.org/officeDocument/2006/relationships/slideLayout" Target="../slideLayouts/slideLayout693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11" Type="http://schemas.openxmlformats.org/officeDocument/2006/relationships/slideLayout" Target="../slideLayouts/slideLayout675.xml"/><Relationship Id="rId24" Type="http://schemas.openxmlformats.org/officeDocument/2006/relationships/slideLayout" Target="../slideLayouts/slideLayout688.xml"/><Relationship Id="rId32" Type="http://schemas.openxmlformats.org/officeDocument/2006/relationships/slideLayout" Target="../slideLayouts/slideLayout696.xml"/><Relationship Id="rId37" Type="http://schemas.openxmlformats.org/officeDocument/2006/relationships/slideLayout" Target="../slideLayouts/slideLayout701.xml"/><Relationship Id="rId40" Type="http://schemas.openxmlformats.org/officeDocument/2006/relationships/slideLayout" Target="../slideLayouts/slideLayout704.xml"/><Relationship Id="rId45" Type="http://schemas.openxmlformats.org/officeDocument/2006/relationships/slideLayout" Target="../slideLayouts/slideLayout709.xml"/><Relationship Id="rId5" Type="http://schemas.openxmlformats.org/officeDocument/2006/relationships/slideLayout" Target="../slideLayouts/slideLayout669.xml"/><Relationship Id="rId15" Type="http://schemas.openxmlformats.org/officeDocument/2006/relationships/slideLayout" Target="../slideLayouts/slideLayout679.xml"/><Relationship Id="rId23" Type="http://schemas.openxmlformats.org/officeDocument/2006/relationships/slideLayout" Target="../slideLayouts/slideLayout687.xml"/><Relationship Id="rId28" Type="http://schemas.openxmlformats.org/officeDocument/2006/relationships/slideLayout" Target="../slideLayouts/slideLayout692.xml"/><Relationship Id="rId36" Type="http://schemas.openxmlformats.org/officeDocument/2006/relationships/slideLayout" Target="../slideLayouts/slideLayout700.xml"/><Relationship Id="rId10" Type="http://schemas.openxmlformats.org/officeDocument/2006/relationships/slideLayout" Target="../slideLayouts/slideLayout674.xml"/><Relationship Id="rId19" Type="http://schemas.openxmlformats.org/officeDocument/2006/relationships/slideLayout" Target="../slideLayouts/slideLayout683.xml"/><Relationship Id="rId31" Type="http://schemas.openxmlformats.org/officeDocument/2006/relationships/slideLayout" Target="../slideLayouts/slideLayout695.xml"/><Relationship Id="rId44" Type="http://schemas.openxmlformats.org/officeDocument/2006/relationships/slideLayout" Target="../slideLayouts/slideLayout708.xml"/><Relationship Id="rId4" Type="http://schemas.openxmlformats.org/officeDocument/2006/relationships/slideLayout" Target="../slideLayouts/slideLayout668.xml"/><Relationship Id="rId9" Type="http://schemas.openxmlformats.org/officeDocument/2006/relationships/slideLayout" Target="../slideLayouts/slideLayout673.xml"/><Relationship Id="rId14" Type="http://schemas.openxmlformats.org/officeDocument/2006/relationships/slideLayout" Target="../slideLayouts/slideLayout678.xml"/><Relationship Id="rId22" Type="http://schemas.openxmlformats.org/officeDocument/2006/relationships/slideLayout" Target="../slideLayouts/slideLayout686.xml"/><Relationship Id="rId27" Type="http://schemas.openxmlformats.org/officeDocument/2006/relationships/slideLayout" Target="../slideLayouts/slideLayout691.xml"/><Relationship Id="rId30" Type="http://schemas.openxmlformats.org/officeDocument/2006/relationships/slideLayout" Target="../slideLayouts/slideLayout694.xml"/><Relationship Id="rId35" Type="http://schemas.openxmlformats.org/officeDocument/2006/relationships/slideLayout" Target="../slideLayouts/slideLayout699.xml"/><Relationship Id="rId43" Type="http://schemas.openxmlformats.org/officeDocument/2006/relationships/slideLayout" Target="../slideLayouts/slideLayout707.xml"/><Relationship Id="rId48" Type="http://schemas.openxmlformats.org/officeDocument/2006/relationships/theme" Target="../theme/theme13.xml"/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12" Type="http://schemas.openxmlformats.org/officeDocument/2006/relationships/slideLayout" Target="../slideLayouts/slideLayout676.xml"/><Relationship Id="rId17" Type="http://schemas.openxmlformats.org/officeDocument/2006/relationships/slideLayout" Target="../slideLayouts/slideLayout681.xml"/><Relationship Id="rId25" Type="http://schemas.openxmlformats.org/officeDocument/2006/relationships/slideLayout" Target="../slideLayouts/slideLayout689.xml"/><Relationship Id="rId33" Type="http://schemas.openxmlformats.org/officeDocument/2006/relationships/slideLayout" Target="../slideLayouts/slideLayout697.xml"/><Relationship Id="rId38" Type="http://schemas.openxmlformats.org/officeDocument/2006/relationships/slideLayout" Target="../slideLayouts/slideLayout702.xml"/><Relationship Id="rId46" Type="http://schemas.openxmlformats.org/officeDocument/2006/relationships/slideLayout" Target="../slideLayouts/slideLayout710.xml"/><Relationship Id="rId20" Type="http://schemas.openxmlformats.org/officeDocument/2006/relationships/slideLayout" Target="../slideLayouts/slideLayout684.xml"/><Relationship Id="rId41" Type="http://schemas.openxmlformats.org/officeDocument/2006/relationships/slideLayout" Target="../slideLayouts/slideLayout705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4.xml"/><Relationship Id="rId18" Type="http://schemas.openxmlformats.org/officeDocument/2006/relationships/slideLayout" Target="../slideLayouts/slideLayout729.xml"/><Relationship Id="rId26" Type="http://schemas.openxmlformats.org/officeDocument/2006/relationships/slideLayout" Target="../slideLayouts/slideLayout737.xml"/><Relationship Id="rId39" Type="http://schemas.openxmlformats.org/officeDocument/2006/relationships/slideLayout" Target="../slideLayouts/slideLayout750.xml"/><Relationship Id="rId21" Type="http://schemas.openxmlformats.org/officeDocument/2006/relationships/slideLayout" Target="../slideLayouts/slideLayout732.xml"/><Relationship Id="rId34" Type="http://schemas.openxmlformats.org/officeDocument/2006/relationships/slideLayout" Target="../slideLayouts/slideLayout745.xml"/><Relationship Id="rId42" Type="http://schemas.openxmlformats.org/officeDocument/2006/relationships/slideLayout" Target="../slideLayouts/slideLayout753.xml"/><Relationship Id="rId7" Type="http://schemas.openxmlformats.org/officeDocument/2006/relationships/slideLayout" Target="../slideLayouts/slideLayout718.xml"/><Relationship Id="rId2" Type="http://schemas.openxmlformats.org/officeDocument/2006/relationships/slideLayout" Target="../slideLayouts/slideLayout713.xml"/><Relationship Id="rId16" Type="http://schemas.openxmlformats.org/officeDocument/2006/relationships/slideLayout" Target="../slideLayouts/slideLayout727.xml"/><Relationship Id="rId29" Type="http://schemas.openxmlformats.org/officeDocument/2006/relationships/slideLayout" Target="../slideLayouts/slideLayout740.xml"/><Relationship Id="rId1" Type="http://schemas.openxmlformats.org/officeDocument/2006/relationships/slideLayout" Target="../slideLayouts/slideLayout712.xml"/><Relationship Id="rId6" Type="http://schemas.openxmlformats.org/officeDocument/2006/relationships/slideLayout" Target="../slideLayouts/slideLayout717.xml"/><Relationship Id="rId11" Type="http://schemas.openxmlformats.org/officeDocument/2006/relationships/slideLayout" Target="../slideLayouts/slideLayout722.xml"/><Relationship Id="rId24" Type="http://schemas.openxmlformats.org/officeDocument/2006/relationships/slideLayout" Target="../slideLayouts/slideLayout735.xml"/><Relationship Id="rId32" Type="http://schemas.openxmlformats.org/officeDocument/2006/relationships/slideLayout" Target="../slideLayouts/slideLayout743.xml"/><Relationship Id="rId37" Type="http://schemas.openxmlformats.org/officeDocument/2006/relationships/slideLayout" Target="../slideLayouts/slideLayout748.xml"/><Relationship Id="rId40" Type="http://schemas.openxmlformats.org/officeDocument/2006/relationships/slideLayout" Target="../slideLayouts/slideLayout751.xml"/><Relationship Id="rId45" Type="http://schemas.openxmlformats.org/officeDocument/2006/relationships/slideLayout" Target="../slideLayouts/slideLayout756.xml"/><Relationship Id="rId5" Type="http://schemas.openxmlformats.org/officeDocument/2006/relationships/slideLayout" Target="../slideLayouts/slideLayout716.xml"/><Relationship Id="rId15" Type="http://schemas.openxmlformats.org/officeDocument/2006/relationships/slideLayout" Target="../slideLayouts/slideLayout726.xml"/><Relationship Id="rId23" Type="http://schemas.openxmlformats.org/officeDocument/2006/relationships/slideLayout" Target="../slideLayouts/slideLayout734.xml"/><Relationship Id="rId28" Type="http://schemas.openxmlformats.org/officeDocument/2006/relationships/slideLayout" Target="../slideLayouts/slideLayout739.xml"/><Relationship Id="rId36" Type="http://schemas.openxmlformats.org/officeDocument/2006/relationships/slideLayout" Target="../slideLayouts/slideLayout747.xml"/><Relationship Id="rId10" Type="http://schemas.openxmlformats.org/officeDocument/2006/relationships/slideLayout" Target="../slideLayouts/slideLayout721.xml"/><Relationship Id="rId19" Type="http://schemas.openxmlformats.org/officeDocument/2006/relationships/slideLayout" Target="../slideLayouts/slideLayout730.xml"/><Relationship Id="rId31" Type="http://schemas.openxmlformats.org/officeDocument/2006/relationships/slideLayout" Target="../slideLayouts/slideLayout742.xml"/><Relationship Id="rId44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15.xml"/><Relationship Id="rId9" Type="http://schemas.openxmlformats.org/officeDocument/2006/relationships/slideLayout" Target="../slideLayouts/slideLayout720.xml"/><Relationship Id="rId14" Type="http://schemas.openxmlformats.org/officeDocument/2006/relationships/slideLayout" Target="../slideLayouts/slideLayout725.xml"/><Relationship Id="rId22" Type="http://schemas.openxmlformats.org/officeDocument/2006/relationships/slideLayout" Target="../slideLayouts/slideLayout733.xml"/><Relationship Id="rId27" Type="http://schemas.openxmlformats.org/officeDocument/2006/relationships/slideLayout" Target="../slideLayouts/slideLayout738.xml"/><Relationship Id="rId30" Type="http://schemas.openxmlformats.org/officeDocument/2006/relationships/slideLayout" Target="../slideLayouts/slideLayout741.xml"/><Relationship Id="rId35" Type="http://schemas.openxmlformats.org/officeDocument/2006/relationships/slideLayout" Target="../slideLayouts/slideLayout746.xml"/><Relationship Id="rId43" Type="http://schemas.openxmlformats.org/officeDocument/2006/relationships/slideLayout" Target="../slideLayouts/slideLayout754.xml"/><Relationship Id="rId8" Type="http://schemas.openxmlformats.org/officeDocument/2006/relationships/slideLayout" Target="../slideLayouts/slideLayout719.xml"/><Relationship Id="rId3" Type="http://schemas.openxmlformats.org/officeDocument/2006/relationships/slideLayout" Target="../slideLayouts/slideLayout714.xml"/><Relationship Id="rId12" Type="http://schemas.openxmlformats.org/officeDocument/2006/relationships/slideLayout" Target="../slideLayouts/slideLayout723.xml"/><Relationship Id="rId17" Type="http://schemas.openxmlformats.org/officeDocument/2006/relationships/slideLayout" Target="../slideLayouts/slideLayout728.xml"/><Relationship Id="rId25" Type="http://schemas.openxmlformats.org/officeDocument/2006/relationships/slideLayout" Target="../slideLayouts/slideLayout736.xml"/><Relationship Id="rId33" Type="http://schemas.openxmlformats.org/officeDocument/2006/relationships/slideLayout" Target="../slideLayouts/slideLayout744.xml"/><Relationship Id="rId38" Type="http://schemas.openxmlformats.org/officeDocument/2006/relationships/slideLayout" Target="../slideLayouts/slideLayout749.xml"/><Relationship Id="rId46" Type="http://schemas.openxmlformats.org/officeDocument/2006/relationships/theme" Target="../theme/theme14.xml"/><Relationship Id="rId20" Type="http://schemas.openxmlformats.org/officeDocument/2006/relationships/slideLayout" Target="../slideLayouts/slideLayout731.xml"/><Relationship Id="rId41" Type="http://schemas.openxmlformats.org/officeDocument/2006/relationships/slideLayout" Target="../slideLayouts/slideLayout752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9.xml"/><Relationship Id="rId18" Type="http://schemas.openxmlformats.org/officeDocument/2006/relationships/slideLayout" Target="../slideLayouts/slideLayout774.xml"/><Relationship Id="rId26" Type="http://schemas.openxmlformats.org/officeDocument/2006/relationships/slideLayout" Target="../slideLayouts/slideLayout782.xml"/><Relationship Id="rId39" Type="http://schemas.openxmlformats.org/officeDocument/2006/relationships/slideLayout" Target="../slideLayouts/slideLayout795.xml"/><Relationship Id="rId21" Type="http://schemas.openxmlformats.org/officeDocument/2006/relationships/slideLayout" Target="../slideLayouts/slideLayout777.xml"/><Relationship Id="rId34" Type="http://schemas.openxmlformats.org/officeDocument/2006/relationships/slideLayout" Target="../slideLayouts/slideLayout790.xml"/><Relationship Id="rId42" Type="http://schemas.openxmlformats.org/officeDocument/2006/relationships/slideLayout" Target="../slideLayouts/slideLayout798.xml"/><Relationship Id="rId47" Type="http://schemas.openxmlformats.org/officeDocument/2006/relationships/slideLayout" Target="../slideLayouts/slideLayout803.xml"/><Relationship Id="rId50" Type="http://schemas.openxmlformats.org/officeDocument/2006/relationships/slideLayout" Target="../slideLayouts/slideLayout806.xml"/><Relationship Id="rId7" Type="http://schemas.openxmlformats.org/officeDocument/2006/relationships/slideLayout" Target="../slideLayouts/slideLayout763.xml"/><Relationship Id="rId2" Type="http://schemas.openxmlformats.org/officeDocument/2006/relationships/slideLayout" Target="../slideLayouts/slideLayout758.xml"/><Relationship Id="rId16" Type="http://schemas.openxmlformats.org/officeDocument/2006/relationships/slideLayout" Target="../slideLayouts/slideLayout772.xml"/><Relationship Id="rId29" Type="http://schemas.openxmlformats.org/officeDocument/2006/relationships/slideLayout" Target="../slideLayouts/slideLayout785.xml"/><Relationship Id="rId11" Type="http://schemas.openxmlformats.org/officeDocument/2006/relationships/slideLayout" Target="../slideLayouts/slideLayout767.xml"/><Relationship Id="rId24" Type="http://schemas.openxmlformats.org/officeDocument/2006/relationships/slideLayout" Target="../slideLayouts/slideLayout780.xml"/><Relationship Id="rId32" Type="http://schemas.openxmlformats.org/officeDocument/2006/relationships/slideLayout" Target="../slideLayouts/slideLayout788.xml"/><Relationship Id="rId37" Type="http://schemas.openxmlformats.org/officeDocument/2006/relationships/slideLayout" Target="../slideLayouts/slideLayout793.xml"/><Relationship Id="rId40" Type="http://schemas.openxmlformats.org/officeDocument/2006/relationships/slideLayout" Target="../slideLayouts/slideLayout796.xml"/><Relationship Id="rId45" Type="http://schemas.openxmlformats.org/officeDocument/2006/relationships/slideLayout" Target="../slideLayouts/slideLayout801.xml"/><Relationship Id="rId5" Type="http://schemas.openxmlformats.org/officeDocument/2006/relationships/slideLayout" Target="../slideLayouts/slideLayout761.xml"/><Relationship Id="rId15" Type="http://schemas.openxmlformats.org/officeDocument/2006/relationships/slideLayout" Target="../slideLayouts/slideLayout771.xml"/><Relationship Id="rId23" Type="http://schemas.openxmlformats.org/officeDocument/2006/relationships/slideLayout" Target="../slideLayouts/slideLayout779.xml"/><Relationship Id="rId28" Type="http://schemas.openxmlformats.org/officeDocument/2006/relationships/slideLayout" Target="../slideLayouts/slideLayout784.xml"/><Relationship Id="rId36" Type="http://schemas.openxmlformats.org/officeDocument/2006/relationships/slideLayout" Target="../slideLayouts/slideLayout792.xml"/><Relationship Id="rId49" Type="http://schemas.openxmlformats.org/officeDocument/2006/relationships/slideLayout" Target="../slideLayouts/slideLayout805.xml"/><Relationship Id="rId10" Type="http://schemas.openxmlformats.org/officeDocument/2006/relationships/slideLayout" Target="../slideLayouts/slideLayout766.xml"/><Relationship Id="rId19" Type="http://schemas.openxmlformats.org/officeDocument/2006/relationships/slideLayout" Target="../slideLayouts/slideLayout775.xml"/><Relationship Id="rId31" Type="http://schemas.openxmlformats.org/officeDocument/2006/relationships/slideLayout" Target="../slideLayouts/slideLayout787.xml"/><Relationship Id="rId44" Type="http://schemas.openxmlformats.org/officeDocument/2006/relationships/slideLayout" Target="../slideLayouts/slideLayout800.xml"/><Relationship Id="rId52" Type="http://schemas.openxmlformats.org/officeDocument/2006/relationships/theme" Target="../theme/theme15.xml"/><Relationship Id="rId4" Type="http://schemas.openxmlformats.org/officeDocument/2006/relationships/slideLayout" Target="../slideLayouts/slideLayout760.xml"/><Relationship Id="rId9" Type="http://schemas.openxmlformats.org/officeDocument/2006/relationships/slideLayout" Target="../slideLayouts/slideLayout765.xml"/><Relationship Id="rId14" Type="http://schemas.openxmlformats.org/officeDocument/2006/relationships/slideLayout" Target="../slideLayouts/slideLayout770.xml"/><Relationship Id="rId22" Type="http://schemas.openxmlformats.org/officeDocument/2006/relationships/slideLayout" Target="../slideLayouts/slideLayout778.xml"/><Relationship Id="rId27" Type="http://schemas.openxmlformats.org/officeDocument/2006/relationships/slideLayout" Target="../slideLayouts/slideLayout783.xml"/><Relationship Id="rId30" Type="http://schemas.openxmlformats.org/officeDocument/2006/relationships/slideLayout" Target="../slideLayouts/slideLayout786.xml"/><Relationship Id="rId35" Type="http://schemas.openxmlformats.org/officeDocument/2006/relationships/slideLayout" Target="../slideLayouts/slideLayout791.xml"/><Relationship Id="rId43" Type="http://schemas.openxmlformats.org/officeDocument/2006/relationships/slideLayout" Target="../slideLayouts/slideLayout799.xml"/><Relationship Id="rId48" Type="http://schemas.openxmlformats.org/officeDocument/2006/relationships/slideLayout" Target="../slideLayouts/slideLayout804.xml"/><Relationship Id="rId8" Type="http://schemas.openxmlformats.org/officeDocument/2006/relationships/slideLayout" Target="../slideLayouts/slideLayout764.xml"/><Relationship Id="rId51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759.xml"/><Relationship Id="rId12" Type="http://schemas.openxmlformats.org/officeDocument/2006/relationships/slideLayout" Target="../slideLayouts/slideLayout768.xml"/><Relationship Id="rId17" Type="http://schemas.openxmlformats.org/officeDocument/2006/relationships/slideLayout" Target="../slideLayouts/slideLayout773.xml"/><Relationship Id="rId25" Type="http://schemas.openxmlformats.org/officeDocument/2006/relationships/slideLayout" Target="../slideLayouts/slideLayout781.xml"/><Relationship Id="rId33" Type="http://schemas.openxmlformats.org/officeDocument/2006/relationships/slideLayout" Target="../slideLayouts/slideLayout789.xml"/><Relationship Id="rId38" Type="http://schemas.openxmlformats.org/officeDocument/2006/relationships/slideLayout" Target="../slideLayouts/slideLayout794.xml"/><Relationship Id="rId46" Type="http://schemas.openxmlformats.org/officeDocument/2006/relationships/slideLayout" Target="../slideLayouts/slideLayout802.xml"/><Relationship Id="rId20" Type="http://schemas.openxmlformats.org/officeDocument/2006/relationships/slideLayout" Target="../slideLayouts/slideLayout776.xml"/><Relationship Id="rId41" Type="http://schemas.openxmlformats.org/officeDocument/2006/relationships/slideLayout" Target="../slideLayouts/slideLayout797.xml"/><Relationship Id="rId1" Type="http://schemas.openxmlformats.org/officeDocument/2006/relationships/slideLayout" Target="../slideLayouts/slideLayout757.xml"/><Relationship Id="rId6" Type="http://schemas.openxmlformats.org/officeDocument/2006/relationships/slideLayout" Target="../slideLayouts/slideLayout762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0.xml"/><Relationship Id="rId18" Type="http://schemas.openxmlformats.org/officeDocument/2006/relationships/slideLayout" Target="../slideLayouts/slideLayout825.xml"/><Relationship Id="rId26" Type="http://schemas.openxmlformats.org/officeDocument/2006/relationships/slideLayout" Target="../slideLayouts/slideLayout833.xml"/><Relationship Id="rId39" Type="http://schemas.openxmlformats.org/officeDocument/2006/relationships/slideLayout" Target="../slideLayouts/slideLayout846.xml"/><Relationship Id="rId21" Type="http://schemas.openxmlformats.org/officeDocument/2006/relationships/slideLayout" Target="../slideLayouts/slideLayout828.xml"/><Relationship Id="rId34" Type="http://schemas.openxmlformats.org/officeDocument/2006/relationships/slideLayout" Target="../slideLayouts/slideLayout841.xml"/><Relationship Id="rId42" Type="http://schemas.openxmlformats.org/officeDocument/2006/relationships/slideLayout" Target="../slideLayouts/slideLayout849.xml"/><Relationship Id="rId47" Type="http://schemas.openxmlformats.org/officeDocument/2006/relationships/slideLayout" Target="../slideLayouts/slideLayout854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6" Type="http://schemas.openxmlformats.org/officeDocument/2006/relationships/slideLayout" Target="../slideLayouts/slideLayout823.xml"/><Relationship Id="rId29" Type="http://schemas.openxmlformats.org/officeDocument/2006/relationships/slideLayout" Target="../slideLayouts/slideLayout836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11" Type="http://schemas.openxmlformats.org/officeDocument/2006/relationships/slideLayout" Target="../slideLayouts/slideLayout818.xml"/><Relationship Id="rId24" Type="http://schemas.openxmlformats.org/officeDocument/2006/relationships/slideLayout" Target="../slideLayouts/slideLayout831.xml"/><Relationship Id="rId32" Type="http://schemas.openxmlformats.org/officeDocument/2006/relationships/slideLayout" Target="../slideLayouts/slideLayout839.xml"/><Relationship Id="rId37" Type="http://schemas.openxmlformats.org/officeDocument/2006/relationships/slideLayout" Target="../slideLayouts/slideLayout844.xml"/><Relationship Id="rId40" Type="http://schemas.openxmlformats.org/officeDocument/2006/relationships/slideLayout" Target="../slideLayouts/slideLayout847.xml"/><Relationship Id="rId45" Type="http://schemas.openxmlformats.org/officeDocument/2006/relationships/slideLayout" Target="../slideLayouts/slideLayout852.xml"/><Relationship Id="rId5" Type="http://schemas.openxmlformats.org/officeDocument/2006/relationships/slideLayout" Target="../slideLayouts/slideLayout812.xml"/><Relationship Id="rId15" Type="http://schemas.openxmlformats.org/officeDocument/2006/relationships/slideLayout" Target="../slideLayouts/slideLayout822.xml"/><Relationship Id="rId23" Type="http://schemas.openxmlformats.org/officeDocument/2006/relationships/slideLayout" Target="../slideLayouts/slideLayout830.xml"/><Relationship Id="rId28" Type="http://schemas.openxmlformats.org/officeDocument/2006/relationships/slideLayout" Target="../slideLayouts/slideLayout835.xml"/><Relationship Id="rId36" Type="http://schemas.openxmlformats.org/officeDocument/2006/relationships/slideLayout" Target="../slideLayouts/slideLayout843.xml"/><Relationship Id="rId10" Type="http://schemas.openxmlformats.org/officeDocument/2006/relationships/slideLayout" Target="../slideLayouts/slideLayout817.xml"/><Relationship Id="rId19" Type="http://schemas.openxmlformats.org/officeDocument/2006/relationships/slideLayout" Target="../slideLayouts/slideLayout826.xml"/><Relationship Id="rId31" Type="http://schemas.openxmlformats.org/officeDocument/2006/relationships/slideLayout" Target="../slideLayouts/slideLayout838.xml"/><Relationship Id="rId44" Type="http://schemas.openxmlformats.org/officeDocument/2006/relationships/slideLayout" Target="../slideLayouts/slideLayout851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Relationship Id="rId14" Type="http://schemas.openxmlformats.org/officeDocument/2006/relationships/slideLayout" Target="../slideLayouts/slideLayout821.xml"/><Relationship Id="rId22" Type="http://schemas.openxmlformats.org/officeDocument/2006/relationships/slideLayout" Target="../slideLayouts/slideLayout829.xml"/><Relationship Id="rId27" Type="http://schemas.openxmlformats.org/officeDocument/2006/relationships/slideLayout" Target="../slideLayouts/slideLayout834.xml"/><Relationship Id="rId30" Type="http://schemas.openxmlformats.org/officeDocument/2006/relationships/slideLayout" Target="../slideLayouts/slideLayout837.xml"/><Relationship Id="rId35" Type="http://schemas.openxmlformats.org/officeDocument/2006/relationships/slideLayout" Target="../slideLayouts/slideLayout842.xml"/><Relationship Id="rId43" Type="http://schemas.openxmlformats.org/officeDocument/2006/relationships/slideLayout" Target="../slideLayouts/slideLayout850.xml"/><Relationship Id="rId48" Type="http://schemas.openxmlformats.org/officeDocument/2006/relationships/theme" Target="../theme/theme16.xml"/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12" Type="http://schemas.openxmlformats.org/officeDocument/2006/relationships/slideLayout" Target="../slideLayouts/slideLayout819.xml"/><Relationship Id="rId17" Type="http://schemas.openxmlformats.org/officeDocument/2006/relationships/slideLayout" Target="../slideLayouts/slideLayout824.xml"/><Relationship Id="rId25" Type="http://schemas.openxmlformats.org/officeDocument/2006/relationships/slideLayout" Target="../slideLayouts/slideLayout832.xml"/><Relationship Id="rId33" Type="http://schemas.openxmlformats.org/officeDocument/2006/relationships/slideLayout" Target="../slideLayouts/slideLayout840.xml"/><Relationship Id="rId38" Type="http://schemas.openxmlformats.org/officeDocument/2006/relationships/slideLayout" Target="../slideLayouts/slideLayout845.xml"/><Relationship Id="rId46" Type="http://schemas.openxmlformats.org/officeDocument/2006/relationships/slideLayout" Target="../slideLayouts/slideLayout853.xml"/><Relationship Id="rId20" Type="http://schemas.openxmlformats.org/officeDocument/2006/relationships/slideLayout" Target="../slideLayouts/slideLayout827.xml"/><Relationship Id="rId41" Type="http://schemas.openxmlformats.org/officeDocument/2006/relationships/slideLayout" Target="../slideLayouts/slideLayout848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7.xml"/><Relationship Id="rId18" Type="http://schemas.openxmlformats.org/officeDocument/2006/relationships/slideLayout" Target="../slideLayouts/slideLayout872.xml"/><Relationship Id="rId26" Type="http://schemas.openxmlformats.org/officeDocument/2006/relationships/slideLayout" Target="../slideLayouts/slideLayout880.xml"/><Relationship Id="rId39" Type="http://schemas.openxmlformats.org/officeDocument/2006/relationships/slideLayout" Target="../slideLayouts/slideLayout893.xml"/><Relationship Id="rId21" Type="http://schemas.openxmlformats.org/officeDocument/2006/relationships/slideLayout" Target="../slideLayouts/slideLayout875.xml"/><Relationship Id="rId34" Type="http://schemas.openxmlformats.org/officeDocument/2006/relationships/slideLayout" Target="../slideLayouts/slideLayout888.xml"/><Relationship Id="rId42" Type="http://schemas.openxmlformats.org/officeDocument/2006/relationships/slideLayout" Target="../slideLayouts/slideLayout896.xml"/><Relationship Id="rId47" Type="http://schemas.openxmlformats.org/officeDocument/2006/relationships/slideLayout" Target="../slideLayouts/slideLayout901.xml"/><Relationship Id="rId50" Type="http://schemas.openxmlformats.org/officeDocument/2006/relationships/theme" Target="../theme/theme17.xml"/><Relationship Id="rId7" Type="http://schemas.openxmlformats.org/officeDocument/2006/relationships/slideLayout" Target="../slideLayouts/slideLayout861.xml"/><Relationship Id="rId2" Type="http://schemas.openxmlformats.org/officeDocument/2006/relationships/slideLayout" Target="../slideLayouts/slideLayout856.xml"/><Relationship Id="rId16" Type="http://schemas.openxmlformats.org/officeDocument/2006/relationships/slideLayout" Target="../slideLayouts/slideLayout870.xml"/><Relationship Id="rId29" Type="http://schemas.openxmlformats.org/officeDocument/2006/relationships/slideLayout" Target="../slideLayouts/slideLayout883.xml"/><Relationship Id="rId11" Type="http://schemas.openxmlformats.org/officeDocument/2006/relationships/slideLayout" Target="../slideLayouts/slideLayout865.xml"/><Relationship Id="rId24" Type="http://schemas.openxmlformats.org/officeDocument/2006/relationships/slideLayout" Target="../slideLayouts/slideLayout878.xml"/><Relationship Id="rId32" Type="http://schemas.openxmlformats.org/officeDocument/2006/relationships/slideLayout" Target="../slideLayouts/slideLayout886.xml"/><Relationship Id="rId37" Type="http://schemas.openxmlformats.org/officeDocument/2006/relationships/slideLayout" Target="../slideLayouts/slideLayout891.xml"/><Relationship Id="rId40" Type="http://schemas.openxmlformats.org/officeDocument/2006/relationships/slideLayout" Target="../slideLayouts/slideLayout894.xml"/><Relationship Id="rId45" Type="http://schemas.openxmlformats.org/officeDocument/2006/relationships/slideLayout" Target="../slideLayouts/slideLayout899.xml"/><Relationship Id="rId5" Type="http://schemas.openxmlformats.org/officeDocument/2006/relationships/slideLayout" Target="../slideLayouts/slideLayout859.xml"/><Relationship Id="rId15" Type="http://schemas.openxmlformats.org/officeDocument/2006/relationships/slideLayout" Target="../slideLayouts/slideLayout869.xml"/><Relationship Id="rId23" Type="http://schemas.openxmlformats.org/officeDocument/2006/relationships/slideLayout" Target="../slideLayouts/slideLayout877.xml"/><Relationship Id="rId28" Type="http://schemas.openxmlformats.org/officeDocument/2006/relationships/slideLayout" Target="../slideLayouts/slideLayout882.xml"/><Relationship Id="rId36" Type="http://schemas.openxmlformats.org/officeDocument/2006/relationships/slideLayout" Target="../slideLayouts/slideLayout890.xml"/><Relationship Id="rId49" Type="http://schemas.openxmlformats.org/officeDocument/2006/relationships/slideLayout" Target="../slideLayouts/slideLayout903.xml"/><Relationship Id="rId10" Type="http://schemas.openxmlformats.org/officeDocument/2006/relationships/slideLayout" Target="../slideLayouts/slideLayout864.xml"/><Relationship Id="rId19" Type="http://schemas.openxmlformats.org/officeDocument/2006/relationships/slideLayout" Target="../slideLayouts/slideLayout873.xml"/><Relationship Id="rId31" Type="http://schemas.openxmlformats.org/officeDocument/2006/relationships/slideLayout" Target="../slideLayouts/slideLayout885.xml"/><Relationship Id="rId44" Type="http://schemas.openxmlformats.org/officeDocument/2006/relationships/slideLayout" Target="../slideLayouts/slideLayout898.xml"/><Relationship Id="rId4" Type="http://schemas.openxmlformats.org/officeDocument/2006/relationships/slideLayout" Target="../slideLayouts/slideLayout858.xml"/><Relationship Id="rId9" Type="http://schemas.openxmlformats.org/officeDocument/2006/relationships/slideLayout" Target="../slideLayouts/slideLayout863.xml"/><Relationship Id="rId14" Type="http://schemas.openxmlformats.org/officeDocument/2006/relationships/slideLayout" Target="../slideLayouts/slideLayout868.xml"/><Relationship Id="rId22" Type="http://schemas.openxmlformats.org/officeDocument/2006/relationships/slideLayout" Target="../slideLayouts/slideLayout876.xml"/><Relationship Id="rId27" Type="http://schemas.openxmlformats.org/officeDocument/2006/relationships/slideLayout" Target="../slideLayouts/slideLayout881.xml"/><Relationship Id="rId30" Type="http://schemas.openxmlformats.org/officeDocument/2006/relationships/slideLayout" Target="../slideLayouts/slideLayout884.xml"/><Relationship Id="rId35" Type="http://schemas.openxmlformats.org/officeDocument/2006/relationships/slideLayout" Target="../slideLayouts/slideLayout889.xml"/><Relationship Id="rId43" Type="http://schemas.openxmlformats.org/officeDocument/2006/relationships/slideLayout" Target="../slideLayouts/slideLayout897.xml"/><Relationship Id="rId48" Type="http://schemas.openxmlformats.org/officeDocument/2006/relationships/slideLayout" Target="../slideLayouts/slideLayout902.xml"/><Relationship Id="rId8" Type="http://schemas.openxmlformats.org/officeDocument/2006/relationships/slideLayout" Target="../slideLayouts/slideLayout862.xml"/><Relationship Id="rId3" Type="http://schemas.openxmlformats.org/officeDocument/2006/relationships/slideLayout" Target="../slideLayouts/slideLayout857.xml"/><Relationship Id="rId12" Type="http://schemas.openxmlformats.org/officeDocument/2006/relationships/slideLayout" Target="../slideLayouts/slideLayout866.xml"/><Relationship Id="rId17" Type="http://schemas.openxmlformats.org/officeDocument/2006/relationships/slideLayout" Target="../slideLayouts/slideLayout871.xml"/><Relationship Id="rId25" Type="http://schemas.openxmlformats.org/officeDocument/2006/relationships/slideLayout" Target="../slideLayouts/slideLayout879.xml"/><Relationship Id="rId33" Type="http://schemas.openxmlformats.org/officeDocument/2006/relationships/slideLayout" Target="../slideLayouts/slideLayout887.xml"/><Relationship Id="rId38" Type="http://schemas.openxmlformats.org/officeDocument/2006/relationships/slideLayout" Target="../slideLayouts/slideLayout892.xml"/><Relationship Id="rId46" Type="http://schemas.openxmlformats.org/officeDocument/2006/relationships/slideLayout" Target="../slideLayouts/slideLayout900.xml"/><Relationship Id="rId20" Type="http://schemas.openxmlformats.org/officeDocument/2006/relationships/slideLayout" Target="../slideLayouts/slideLayout874.xml"/><Relationship Id="rId41" Type="http://schemas.openxmlformats.org/officeDocument/2006/relationships/slideLayout" Target="../slideLayouts/slideLayout895.xml"/><Relationship Id="rId1" Type="http://schemas.openxmlformats.org/officeDocument/2006/relationships/slideLayout" Target="../slideLayouts/slideLayout855.xml"/><Relationship Id="rId6" Type="http://schemas.openxmlformats.org/officeDocument/2006/relationships/slideLayout" Target="../slideLayouts/slideLayout860.xml"/></Relationships>
</file>

<file path=ppt/slideMasters/_rels/slideMaster1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29.xml"/><Relationship Id="rId21" Type="http://schemas.openxmlformats.org/officeDocument/2006/relationships/slideLayout" Target="../slideLayouts/slideLayout924.xml"/><Relationship Id="rId42" Type="http://schemas.openxmlformats.org/officeDocument/2006/relationships/slideLayout" Target="../slideLayouts/slideLayout945.xml"/><Relationship Id="rId47" Type="http://schemas.openxmlformats.org/officeDocument/2006/relationships/slideLayout" Target="../slideLayouts/slideLayout950.xml"/><Relationship Id="rId63" Type="http://schemas.openxmlformats.org/officeDocument/2006/relationships/slideLayout" Target="../slideLayouts/slideLayout966.xml"/><Relationship Id="rId68" Type="http://schemas.openxmlformats.org/officeDocument/2006/relationships/slideLayout" Target="../slideLayouts/slideLayout971.xml"/><Relationship Id="rId84" Type="http://schemas.openxmlformats.org/officeDocument/2006/relationships/slideLayout" Target="../slideLayouts/slideLayout987.xml"/><Relationship Id="rId16" Type="http://schemas.openxmlformats.org/officeDocument/2006/relationships/slideLayout" Target="../slideLayouts/slideLayout919.xml"/><Relationship Id="rId11" Type="http://schemas.openxmlformats.org/officeDocument/2006/relationships/slideLayout" Target="../slideLayouts/slideLayout914.xml"/><Relationship Id="rId32" Type="http://schemas.openxmlformats.org/officeDocument/2006/relationships/slideLayout" Target="../slideLayouts/slideLayout935.xml"/><Relationship Id="rId37" Type="http://schemas.openxmlformats.org/officeDocument/2006/relationships/slideLayout" Target="../slideLayouts/slideLayout940.xml"/><Relationship Id="rId53" Type="http://schemas.openxmlformats.org/officeDocument/2006/relationships/slideLayout" Target="../slideLayouts/slideLayout956.xml"/><Relationship Id="rId58" Type="http://schemas.openxmlformats.org/officeDocument/2006/relationships/slideLayout" Target="../slideLayouts/slideLayout961.xml"/><Relationship Id="rId74" Type="http://schemas.openxmlformats.org/officeDocument/2006/relationships/slideLayout" Target="../slideLayouts/slideLayout977.xml"/><Relationship Id="rId79" Type="http://schemas.openxmlformats.org/officeDocument/2006/relationships/slideLayout" Target="../slideLayouts/slideLayout982.xml"/><Relationship Id="rId5" Type="http://schemas.openxmlformats.org/officeDocument/2006/relationships/slideLayout" Target="../slideLayouts/slideLayout908.xml"/><Relationship Id="rId19" Type="http://schemas.openxmlformats.org/officeDocument/2006/relationships/slideLayout" Target="../slideLayouts/slideLayout922.xml"/><Relationship Id="rId14" Type="http://schemas.openxmlformats.org/officeDocument/2006/relationships/slideLayout" Target="../slideLayouts/slideLayout917.xml"/><Relationship Id="rId22" Type="http://schemas.openxmlformats.org/officeDocument/2006/relationships/slideLayout" Target="../slideLayouts/slideLayout925.xml"/><Relationship Id="rId27" Type="http://schemas.openxmlformats.org/officeDocument/2006/relationships/slideLayout" Target="../slideLayouts/slideLayout930.xml"/><Relationship Id="rId30" Type="http://schemas.openxmlformats.org/officeDocument/2006/relationships/slideLayout" Target="../slideLayouts/slideLayout933.xml"/><Relationship Id="rId35" Type="http://schemas.openxmlformats.org/officeDocument/2006/relationships/slideLayout" Target="../slideLayouts/slideLayout938.xml"/><Relationship Id="rId43" Type="http://schemas.openxmlformats.org/officeDocument/2006/relationships/slideLayout" Target="../slideLayouts/slideLayout946.xml"/><Relationship Id="rId48" Type="http://schemas.openxmlformats.org/officeDocument/2006/relationships/slideLayout" Target="../slideLayouts/slideLayout951.xml"/><Relationship Id="rId56" Type="http://schemas.openxmlformats.org/officeDocument/2006/relationships/slideLayout" Target="../slideLayouts/slideLayout959.xml"/><Relationship Id="rId64" Type="http://schemas.openxmlformats.org/officeDocument/2006/relationships/slideLayout" Target="../slideLayouts/slideLayout967.xml"/><Relationship Id="rId69" Type="http://schemas.openxmlformats.org/officeDocument/2006/relationships/slideLayout" Target="../slideLayouts/slideLayout972.xml"/><Relationship Id="rId77" Type="http://schemas.openxmlformats.org/officeDocument/2006/relationships/slideLayout" Target="../slideLayouts/slideLayout980.xml"/><Relationship Id="rId8" Type="http://schemas.openxmlformats.org/officeDocument/2006/relationships/slideLayout" Target="../slideLayouts/slideLayout911.xml"/><Relationship Id="rId51" Type="http://schemas.openxmlformats.org/officeDocument/2006/relationships/slideLayout" Target="../slideLayouts/slideLayout954.xml"/><Relationship Id="rId72" Type="http://schemas.openxmlformats.org/officeDocument/2006/relationships/slideLayout" Target="../slideLayouts/slideLayout975.xml"/><Relationship Id="rId80" Type="http://schemas.openxmlformats.org/officeDocument/2006/relationships/slideLayout" Target="../slideLayouts/slideLayout983.xml"/><Relationship Id="rId85" Type="http://schemas.openxmlformats.org/officeDocument/2006/relationships/slideLayout" Target="../slideLayouts/slideLayout988.xml"/><Relationship Id="rId3" Type="http://schemas.openxmlformats.org/officeDocument/2006/relationships/slideLayout" Target="../slideLayouts/slideLayout906.xml"/><Relationship Id="rId12" Type="http://schemas.openxmlformats.org/officeDocument/2006/relationships/slideLayout" Target="../slideLayouts/slideLayout915.xml"/><Relationship Id="rId17" Type="http://schemas.openxmlformats.org/officeDocument/2006/relationships/slideLayout" Target="../slideLayouts/slideLayout920.xml"/><Relationship Id="rId25" Type="http://schemas.openxmlformats.org/officeDocument/2006/relationships/slideLayout" Target="../slideLayouts/slideLayout928.xml"/><Relationship Id="rId33" Type="http://schemas.openxmlformats.org/officeDocument/2006/relationships/slideLayout" Target="../slideLayouts/slideLayout936.xml"/><Relationship Id="rId38" Type="http://schemas.openxmlformats.org/officeDocument/2006/relationships/slideLayout" Target="../slideLayouts/slideLayout941.xml"/><Relationship Id="rId46" Type="http://schemas.openxmlformats.org/officeDocument/2006/relationships/slideLayout" Target="../slideLayouts/slideLayout949.xml"/><Relationship Id="rId59" Type="http://schemas.openxmlformats.org/officeDocument/2006/relationships/slideLayout" Target="../slideLayouts/slideLayout962.xml"/><Relationship Id="rId67" Type="http://schemas.openxmlformats.org/officeDocument/2006/relationships/slideLayout" Target="../slideLayouts/slideLayout970.xml"/><Relationship Id="rId20" Type="http://schemas.openxmlformats.org/officeDocument/2006/relationships/slideLayout" Target="../slideLayouts/slideLayout923.xml"/><Relationship Id="rId41" Type="http://schemas.openxmlformats.org/officeDocument/2006/relationships/slideLayout" Target="../slideLayouts/slideLayout944.xml"/><Relationship Id="rId54" Type="http://schemas.openxmlformats.org/officeDocument/2006/relationships/slideLayout" Target="../slideLayouts/slideLayout957.xml"/><Relationship Id="rId62" Type="http://schemas.openxmlformats.org/officeDocument/2006/relationships/slideLayout" Target="../slideLayouts/slideLayout965.xml"/><Relationship Id="rId70" Type="http://schemas.openxmlformats.org/officeDocument/2006/relationships/slideLayout" Target="../slideLayouts/slideLayout973.xml"/><Relationship Id="rId75" Type="http://schemas.openxmlformats.org/officeDocument/2006/relationships/slideLayout" Target="../slideLayouts/slideLayout978.xml"/><Relationship Id="rId83" Type="http://schemas.openxmlformats.org/officeDocument/2006/relationships/slideLayout" Target="../slideLayouts/slideLayout986.xml"/><Relationship Id="rId88" Type="http://schemas.openxmlformats.org/officeDocument/2006/relationships/theme" Target="../theme/theme18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15" Type="http://schemas.openxmlformats.org/officeDocument/2006/relationships/slideLayout" Target="../slideLayouts/slideLayout918.xml"/><Relationship Id="rId23" Type="http://schemas.openxmlformats.org/officeDocument/2006/relationships/slideLayout" Target="../slideLayouts/slideLayout926.xml"/><Relationship Id="rId28" Type="http://schemas.openxmlformats.org/officeDocument/2006/relationships/slideLayout" Target="../slideLayouts/slideLayout931.xml"/><Relationship Id="rId36" Type="http://schemas.openxmlformats.org/officeDocument/2006/relationships/slideLayout" Target="../slideLayouts/slideLayout939.xml"/><Relationship Id="rId49" Type="http://schemas.openxmlformats.org/officeDocument/2006/relationships/slideLayout" Target="../slideLayouts/slideLayout952.xml"/><Relationship Id="rId57" Type="http://schemas.openxmlformats.org/officeDocument/2006/relationships/slideLayout" Target="../slideLayouts/slideLayout960.xml"/><Relationship Id="rId10" Type="http://schemas.openxmlformats.org/officeDocument/2006/relationships/slideLayout" Target="../slideLayouts/slideLayout913.xml"/><Relationship Id="rId31" Type="http://schemas.openxmlformats.org/officeDocument/2006/relationships/slideLayout" Target="../slideLayouts/slideLayout934.xml"/><Relationship Id="rId44" Type="http://schemas.openxmlformats.org/officeDocument/2006/relationships/slideLayout" Target="../slideLayouts/slideLayout947.xml"/><Relationship Id="rId52" Type="http://schemas.openxmlformats.org/officeDocument/2006/relationships/slideLayout" Target="../slideLayouts/slideLayout955.xml"/><Relationship Id="rId60" Type="http://schemas.openxmlformats.org/officeDocument/2006/relationships/slideLayout" Target="../slideLayouts/slideLayout963.xml"/><Relationship Id="rId65" Type="http://schemas.openxmlformats.org/officeDocument/2006/relationships/slideLayout" Target="../slideLayouts/slideLayout968.xml"/><Relationship Id="rId73" Type="http://schemas.openxmlformats.org/officeDocument/2006/relationships/slideLayout" Target="../slideLayouts/slideLayout976.xml"/><Relationship Id="rId78" Type="http://schemas.openxmlformats.org/officeDocument/2006/relationships/slideLayout" Target="../slideLayouts/slideLayout981.xml"/><Relationship Id="rId81" Type="http://schemas.openxmlformats.org/officeDocument/2006/relationships/slideLayout" Target="../slideLayouts/slideLayout984.xml"/><Relationship Id="rId86" Type="http://schemas.openxmlformats.org/officeDocument/2006/relationships/slideLayout" Target="../slideLayouts/slideLayout989.xml"/><Relationship Id="rId4" Type="http://schemas.openxmlformats.org/officeDocument/2006/relationships/slideLayout" Target="../slideLayouts/slideLayout907.xml"/><Relationship Id="rId9" Type="http://schemas.openxmlformats.org/officeDocument/2006/relationships/slideLayout" Target="../slideLayouts/slideLayout912.xml"/><Relationship Id="rId13" Type="http://schemas.openxmlformats.org/officeDocument/2006/relationships/slideLayout" Target="../slideLayouts/slideLayout916.xml"/><Relationship Id="rId18" Type="http://schemas.openxmlformats.org/officeDocument/2006/relationships/slideLayout" Target="../slideLayouts/slideLayout921.xml"/><Relationship Id="rId39" Type="http://schemas.openxmlformats.org/officeDocument/2006/relationships/slideLayout" Target="../slideLayouts/slideLayout942.xml"/><Relationship Id="rId34" Type="http://schemas.openxmlformats.org/officeDocument/2006/relationships/slideLayout" Target="../slideLayouts/slideLayout937.xml"/><Relationship Id="rId50" Type="http://schemas.openxmlformats.org/officeDocument/2006/relationships/slideLayout" Target="../slideLayouts/slideLayout953.xml"/><Relationship Id="rId55" Type="http://schemas.openxmlformats.org/officeDocument/2006/relationships/slideLayout" Target="../slideLayouts/slideLayout958.xml"/><Relationship Id="rId76" Type="http://schemas.openxmlformats.org/officeDocument/2006/relationships/slideLayout" Target="../slideLayouts/slideLayout979.xml"/><Relationship Id="rId7" Type="http://schemas.openxmlformats.org/officeDocument/2006/relationships/slideLayout" Target="../slideLayouts/slideLayout910.xml"/><Relationship Id="rId71" Type="http://schemas.openxmlformats.org/officeDocument/2006/relationships/slideLayout" Target="../slideLayouts/slideLayout974.xml"/><Relationship Id="rId2" Type="http://schemas.openxmlformats.org/officeDocument/2006/relationships/slideLayout" Target="../slideLayouts/slideLayout905.xml"/><Relationship Id="rId29" Type="http://schemas.openxmlformats.org/officeDocument/2006/relationships/slideLayout" Target="../slideLayouts/slideLayout932.xml"/><Relationship Id="rId24" Type="http://schemas.openxmlformats.org/officeDocument/2006/relationships/slideLayout" Target="../slideLayouts/slideLayout927.xml"/><Relationship Id="rId40" Type="http://schemas.openxmlformats.org/officeDocument/2006/relationships/slideLayout" Target="../slideLayouts/slideLayout943.xml"/><Relationship Id="rId45" Type="http://schemas.openxmlformats.org/officeDocument/2006/relationships/slideLayout" Target="../slideLayouts/slideLayout948.xml"/><Relationship Id="rId66" Type="http://schemas.openxmlformats.org/officeDocument/2006/relationships/slideLayout" Target="../slideLayouts/slideLayout969.xml"/><Relationship Id="rId87" Type="http://schemas.openxmlformats.org/officeDocument/2006/relationships/slideLayout" Target="../slideLayouts/slideLayout990.xml"/><Relationship Id="rId61" Type="http://schemas.openxmlformats.org/officeDocument/2006/relationships/slideLayout" Target="../slideLayouts/slideLayout964.xml"/><Relationship Id="rId82" Type="http://schemas.openxmlformats.org/officeDocument/2006/relationships/slideLayout" Target="../slideLayouts/slideLayout985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3.xml"/><Relationship Id="rId18" Type="http://schemas.openxmlformats.org/officeDocument/2006/relationships/slideLayout" Target="../slideLayouts/slideLayout1008.xml"/><Relationship Id="rId26" Type="http://schemas.openxmlformats.org/officeDocument/2006/relationships/slideLayout" Target="../slideLayouts/slideLayout1016.xml"/><Relationship Id="rId39" Type="http://schemas.openxmlformats.org/officeDocument/2006/relationships/slideLayout" Target="../slideLayouts/slideLayout1029.xml"/><Relationship Id="rId21" Type="http://schemas.openxmlformats.org/officeDocument/2006/relationships/slideLayout" Target="../slideLayouts/slideLayout1011.xml"/><Relationship Id="rId34" Type="http://schemas.openxmlformats.org/officeDocument/2006/relationships/slideLayout" Target="../slideLayouts/slideLayout1024.xml"/><Relationship Id="rId42" Type="http://schemas.openxmlformats.org/officeDocument/2006/relationships/slideLayout" Target="../slideLayouts/slideLayout1032.xml"/><Relationship Id="rId47" Type="http://schemas.openxmlformats.org/officeDocument/2006/relationships/slideLayout" Target="../slideLayouts/slideLayout1037.xml"/><Relationship Id="rId50" Type="http://schemas.openxmlformats.org/officeDocument/2006/relationships/slideLayout" Target="../slideLayouts/slideLayout1040.xml"/><Relationship Id="rId55" Type="http://schemas.openxmlformats.org/officeDocument/2006/relationships/slideLayout" Target="../slideLayouts/slideLayout1045.xml"/><Relationship Id="rId63" Type="http://schemas.openxmlformats.org/officeDocument/2006/relationships/image" Target="../media/image3.emf"/><Relationship Id="rId7" Type="http://schemas.openxmlformats.org/officeDocument/2006/relationships/slideLayout" Target="../slideLayouts/slideLayout997.xml"/><Relationship Id="rId2" Type="http://schemas.openxmlformats.org/officeDocument/2006/relationships/slideLayout" Target="../slideLayouts/slideLayout992.xml"/><Relationship Id="rId16" Type="http://schemas.openxmlformats.org/officeDocument/2006/relationships/slideLayout" Target="../slideLayouts/slideLayout1006.xml"/><Relationship Id="rId29" Type="http://schemas.openxmlformats.org/officeDocument/2006/relationships/slideLayout" Target="../slideLayouts/slideLayout1019.xml"/><Relationship Id="rId11" Type="http://schemas.openxmlformats.org/officeDocument/2006/relationships/slideLayout" Target="../slideLayouts/slideLayout1001.xml"/><Relationship Id="rId24" Type="http://schemas.openxmlformats.org/officeDocument/2006/relationships/slideLayout" Target="../slideLayouts/slideLayout1014.xml"/><Relationship Id="rId32" Type="http://schemas.openxmlformats.org/officeDocument/2006/relationships/slideLayout" Target="../slideLayouts/slideLayout1022.xml"/><Relationship Id="rId37" Type="http://schemas.openxmlformats.org/officeDocument/2006/relationships/slideLayout" Target="../slideLayouts/slideLayout1027.xml"/><Relationship Id="rId40" Type="http://schemas.openxmlformats.org/officeDocument/2006/relationships/slideLayout" Target="../slideLayouts/slideLayout1030.xml"/><Relationship Id="rId45" Type="http://schemas.openxmlformats.org/officeDocument/2006/relationships/slideLayout" Target="../slideLayouts/slideLayout1035.xml"/><Relationship Id="rId53" Type="http://schemas.openxmlformats.org/officeDocument/2006/relationships/slideLayout" Target="../slideLayouts/slideLayout1043.xml"/><Relationship Id="rId58" Type="http://schemas.openxmlformats.org/officeDocument/2006/relationships/slideLayout" Target="../slideLayouts/slideLayout1048.xml"/><Relationship Id="rId5" Type="http://schemas.openxmlformats.org/officeDocument/2006/relationships/slideLayout" Target="../slideLayouts/slideLayout995.xml"/><Relationship Id="rId61" Type="http://schemas.openxmlformats.org/officeDocument/2006/relationships/tags" Target="../tags/tag7.xml"/><Relationship Id="rId19" Type="http://schemas.openxmlformats.org/officeDocument/2006/relationships/slideLayout" Target="../slideLayouts/slideLayout1009.xml"/><Relationship Id="rId14" Type="http://schemas.openxmlformats.org/officeDocument/2006/relationships/slideLayout" Target="../slideLayouts/slideLayout1004.xml"/><Relationship Id="rId22" Type="http://schemas.openxmlformats.org/officeDocument/2006/relationships/slideLayout" Target="../slideLayouts/slideLayout1012.xml"/><Relationship Id="rId27" Type="http://schemas.openxmlformats.org/officeDocument/2006/relationships/slideLayout" Target="../slideLayouts/slideLayout1017.xml"/><Relationship Id="rId30" Type="http://schemas.openxmlformats.org/officeDocument/2006/relationships/slideLayout" Target="../slideLayouts/slideLayout1020.xml"/><Relationship Id="rId35" Type="http://schemas.openxmlformats.org/officeDocument/2006/relationships/slideLayout" Target="../slideLayouts/slideLayout1025.xml"/><Relationship Id="rId43" Type="http://schemas.openxmlformats.org/officeDocument/2006/relationships/slideLayout" Target="../slideLayouts/slideLayout1033.xml"/><Relationship Id="rId48" Type="http://schemas.openxmlformats.org/officeDocument/2006/relationships/slideLayout" Target="../slideLayouts/slideLayout1038.xml"/><Relationship Id="rId56" Type="http://schemas.openxmlformats.org/officeDocument/2006/relationships/slideLayout" Target="../slideLayouts/slideLayout1046.xml"/><Relationship Id="rId8" Type="http://schemas.openxmlformats.org/officeDocument/2006/relationships/slideLayout" Target="../slideLayouts/slideLayout998.xml"/><Relationship Id="rId51" Type="http://schemas.openxmlformats.org/officeDocument/2006/relationships/slideLayout" Target="../slideLayouts/slideLayout1041.xml"/><Relationship Id="rId3" Type="http://schemas.openxmlformats.org/officeDocument/2006/relationships/slideLayout" Target="../slideLayouts/slideLayout993.xml"/><Relationship Id="rId12" Type="http://schemas.openxmlformats.org/officeDocument/2006/relationships/slideLayout" Target="../slideLayouts/slideLayout1002.xml"/><Relationship Id="rId17" Type="http://schemas.openxmlformats.org/officeDocument/2006/relationships/slideLayout" Target="../slideLayouts/slideLayout1007.xml"/><Relationship Id="rId25" Type="http://schemas.openxmlformats.org/officeDocument/2006/relationships/slideLayout" Target="../slideLayouts/slideLayout1015.xml"/><Relationship Id="rId33" Type="http://schemas.openxmlformats.org/officeDocument/2006/relationships/slideLayout" Target="../slideLayouts/slideLayout1023.xml"/><Relationship Id="rId38" Type="http://schemas.openxmlformats.org/officeDocument/2006/relationships/slideLayout" Target="../slideLayouts/slideLayout1028.xml"/><Relationship Id="rId46" Type="http://schemas.openxmlformats.org/officeDocument/2006/relationships/slideLayout" Target="../slideLayouts/slideLayout1036.xml"/><Relationship Id="rId59" Type="http://schemas.openxmlformats.org/officeDocument/2006/relationships/slideLayout" Target="../slideLayouts/slideLayout1049.xml"/><Relationship Id="rId20" Type="http://schemas.openxmlformats.org/officeDocument/2006/relationships/slideLayout" Target="../slideLayouts/slideLayout1010.xml"/><Relationship Id="rId41" Type="http://schemas.openxmlformats.org/officeDocument/2006/relationships/slideLayout" Target="../slideLayouts/slideLayout1031.xml"/><Relationship Id="rId54" Type="http://schemas.openxmlformats.org/officeDocument/2006/relationships/slideLayout" Target="../slideLayouts/slideLayout1044.xml"/><Relationship Id="rId62" Type="http://schemas.openxmlformats.org/officeDocument/2006/relationships/oleObject" Target="../embeddings/oleObject5.bin"/><Relationship Id="rId1" Type="http://schemas.openxmlformats.org/officeDocument/2006/relationships/slideLayout" Target="../slideLayouts/slideLayout991.xml"/><Relationship Id="rId6" Type="http://schemas.openxmlformats.org/officeDocument/2006/relationships/slideLayout" Target="../slideLayouts/slideLayout996.xml"/><Relationship Id="rId15" Type="http://schemas.openxmlformats.org/officeDocument/2006/relationships/slideLayout" Target="../slideLayouts/slideLayout1005.xml"/><Relationship Id="rId23" Type="http://schemas.openxmlformats.org/officeDocument/2006/relationships/slideLayout" Target="../slideLayouts/slideLayout1013.xml"/><Relationship Id="rId28" Type="http://schemas.openxmlformats.org/officeDocument/2006/relationships/slideLayout" Target="../slideLayouts/slideLayout1018.xml"/><Relationship Id="rId36" Type="http://schemas.openxmlformats.org/officeDocument/2006/relationships/slideLayout" Target="../slideLayouts/slideLayout1026.xml"/><Relationship Id="rId49" Type="http://schemas.openxmlformats.org/officeDocument/2006/relationships/slideLayout" Target="../slideLayouts/slideLayout1039.xml"/><Relationship Id="rId57" Type="http://schemas.openxmlformats.org/officeDocument/2006/relationships/slideLayout" Target="../slideLayouts/slideLayout1047.xml"/><Relationship Id="rId10" Type="http://schemas.openxmlformats.org/officeDocument/2006/relationships/slideLayout" Target="../slideLayouts/slideLayout1000.xml"/><Relationship Id="rId31" Type="http://schemas.openxmlformats.org/officeDocument/2006/relationships/slideLayout" Target="../slideLayouts/slideLayout1021.xml"/><Relationship Id="rId44" Type="http://schemas.openxmlformats.org/officeDocument/2006/relationships/slideLayout" Target="../slideLayouts/slideLayout1034.xml"/><Relationship Id="rId52" Type="http://schemas.openxmlformats.org/officeDocument/2006/relationships/slideLayout" Target="../slideLayouts/slideLayout1042.xml"/><Relationship Id="rId60" Type="http://schemas.openxmlformats.org/officeDocument/2006/relationships/theme" Target="../theme/theme19.xml"/><Relationship Id="rId4" Type="http://schemas.openxmlformats.org/officeDocument/2006/relationships/slideLayout" Target="../slideLayouts/slideLayout994.xml"/><Relationship Id="rId9" Type="http://schemas.openxmlformats.org/officeDocument/2006/relationships/slideLayout" Target="../slideLayouts/slideLayout99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theme" Target="../theme/theme2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2.xml"/><Relationship Id="rId18" Type="http://schemas.openxmlformats.org/officeDocument/2006/relationships/slideLayout" Target="../slideLayouts/slideLayout1067.xml"/><Relationship Id="rId26" Type="http://schemas.openxmlformats.org/officeDocument/2006/relationships/slideLayout" Target="../slideLayouts/slideLayout1075.xml"/><Relationship Id="rId39" Type="http://schemas.openxmlformats.org/officeDocument/2006/relationships/slideLayout" Target="../slideLayouts/slideLayout1088.xml"/><Relationship Id="rId21" Type="http://schemas.openxmlformats.org/officeDocument/2006/relationships/slideLayout" Target="../slideLayouts/slideLayout1070.xml"/><Relationship Id="rId34" Type="http://schemas.openxmlformats.org/officeDocument/2006/relationships/slideLayout" Target="../slideLayouts/slideLayout1083.xml"/><Relationship Id="rId42" Type="http://schemas.openxmlformats.org/officeDocument/2006/relationships/slideLayout" Target="../slideLayouts/slideLayout1091.xml"/><Relationship Id="rId47" Type="http://schemas.openxmlformats.org/officeDocument/2006/relationships/slideLayout" Target="../slideLayouts/slideLayout1096.xml"/><Relationship Id="rId7" Type="http://schemas.openxmlformats.org/officeDocument/2006/relationships/slideLayout" Target="../slideLayouts/slideLayout1056.xml"/><Relationship Id="rId2" Type="http://schemas.openxmlformats.org/officeDocument/2006/relationships/slideLayout" Target="../slideLayouts/slideLayout1051.xml"/><Relationship Id="rId16" Type="http://schemas.openxmlformats.org/officeDocument/2006/relationships/slideLayout" Target="../slideLayouts/slideLayout1065.xml"/><Relationship Id="rId29" Type="http://schemas.openxmlformats.org/officeDocument/2006/relationships/slideLayout" Target="../slideLayouts/slideLayout1078.xml"/><Relationship Id="rId1" Type="http://schemas.openxmlformats.org/officeDocument/2006/relationships/slideLayout" Target="../slideLayouts/slideLayout1050.xml"/><Relationship Id="rId6" Type="http://schemas.openxmlformats.org/officeDocument/2006/relationships/slideLayout" Target="../slideLayouts/slideLayout1055.xml"/><Relationship Id="rId11" Type="http://schemas.openxmlformats.org/officeDocument/2006/relationships/slideLayout" Target="../slideLayouts/slideLayout1060.xml"/><Relationship Id="rId24" Type="http://schemas.openxmlformats.org/officeDocument/2006/relationships/slideLayout" Target="../slideLayouts/slideLayout1073.xml"/><Relationship Id="rId32" Type="http://schemas.openxmlformats.org/officeDocument/2006/relationships/slideLayout" Target="../slideLayouts/slideLayout1081.xml"/><Relationship Id="rId37" Type="http://schemas.openxmlformats.org/officeDocument/2006/relationships/slideLayout" Target="../slideLayouts/slideLayout1086.xml"/><Relationship Id="rId40" Type="http://schemas.openxmlformats.org/officeDocument/2006/relationships/slideLayout" Target="../slideLayouts/slideLayout1089.xml"/><Relationship Id="rId45" Type="http://schemas.openxmlformats.org/officeDocument/2006/relationships/slideLayout" Target="../slideLayouts/slideLayout1094.xml"/><Relationship Id="rId5" Type="http://schemas.openxmlformats.org/officeDocument/2006/relationships/slideLayout" Target="../slideLayouts/slideLayout1054.xml"/><Relationship Id="rId15" Type="http://schemas.openxmlformats.org/officeDocument/2006/relationships/slideLayout" Target="../slideLayouts/slideLayout1064.xml"/><Relationship Id="rId23" Type="http://schemas.openxmlformats.org/officeDocument/2006/relationships/slideLayout" Target="../slideLayouts/slideLayout1072.xml"/><Relationship Id="rId28" Type="http://schemas.openxmlformats.org/officeDocument/2006/relationships/slideLayout" Target="../slideLayouts/slideLayout1077.xml"/><Relationship Id="rId36" Type="http://schemas.openxmlformats.org/officeDocument/2006/relationships/slideLayout" Target="../slideLayouts/slideLayout1085.xml"/><Relationship Id="rId10" Type="http://schemas.openxmlformats.org/officeDocument/2006/relationships/slideLayout" Target="../slideLayouts/slideLayout1059.xml"/><Relationship Id="rId19" Type="http://schemas.openxmlformats.org/officeDocument/2006/relationships/slideLayout" Target="../slideLayouts/slideLayout1068.xml"/><Relationship Id="rId31" Type="http://schemas.openxmlformats.org/officeDocument/2006/relationships/slideLayout" Target="../slideLayouts/slideLayout1080.xml"/><Relationship Id="rId44" Type="http://schemas.openxmlformats.org/officeDocument/2006/relationships/slideLayout" Target="../slideLayouts/slideLayout1093.xml"/><Relationship Id="rId4" Type="http://schemas.openxmlformats.org/officeDocument/2006/relationships/slideLayout" Target="../slideLayouts/slideLayout1053.xml"/><Relationship Id="rId9" Type="http://schemas.openxmlformats.org/officeDocument/2006/relationships/slideLayout" Target="../slideLayouts/slideLayout1058.xml"/><Relationship Id="rId14" Type="http://schemas.openxmlformats.org/officeDocument/2006/relationships/slideLayout" Target="../slideLayouts/slideLayout1063.xml"/><Relationship Id="rId22" Type="http://schemas.openxmlformats.org/officeDocument/2006/relationships/slideLayout" Target="../slideLayouts/slideLayout1071.xml"/><Relationship Id="rId27" Type="http://schemas.openxmlformats.org/officeDocument/2006/relationships/slideLayout" Target="../slideLayouts/slideLayout1076.xml"/><Relationship Id="rId30" Type="http://schemas.openxmlformats.org/officeDocument/2006/relationships/slideLayout" Target="../slideLayouts/slideLayout1079.xml"/><Relationship Id="rId35" Type="http://schemas.openxmlformats.org/officeDocument/2006/relationships/slideLayout" Target="../slideLayouts/slideLayout1084.xml"/><Relationship Id="rId43" Type="http://schemas.openxmlformats.org/officeDocument/2006/relationships/slideLayout" Target="../slideLayouts/slideLayout1092.xml"/><Relationship Id="rId48" Type="http://schemas.openxmlformats.org/officeDocument/2006/relationships/theme" Target="../theme/theme20.xml"/><Relationship Id="rId8" Type="http://schemas.openxmlformats.org/officeDocument/2006/relationships/slideLayout" Target="../slideLayouts/slideLayout1057.xml"/><Relationship Id="rId3" Type="http://schemas.openxmlformats.org/officeDocument/2006/relationships/slideLayout" Target="../slideLayouts/slideLayout1052.xml"/><Relationship Id="rId12" Type="http://schemas.openxmlformats.org/officeDocument/2006/relationships/slideLayout" Target="../slideLayouts/slideLayout1061.xml"/><Relationship Id="rId17" Type="http://schemas.openxmlformats.org/officeDocument/2006/relationships/slideLayout" Target="../slideLayouts/slideLayout1066.xml"/><Relationship Id="rId25" Type="http://schemas.openxmlformats.org/officeDocument/2006/relationships/slideLayout" Target="../slideLayouts/slideLayout1074.xml"/><Relationship Id="rId33" Type="http://schemas.openxmlformats.org/officeDocument/2006/relationships/slideLayout" Target="../slideLayouts/slideLayout1082.xml"/><Relationship Id="rId38" Type="http://schemas.openxmlformats.org/officeDocument/2006/relationships/slideLayout" Target="../slideLayouts/slideLayout1087.xml"/><Relationship Id="rId46" Type="http://schemas.openxmlformats.org/officeDocument/2006/relationships/slideLayout" Target="../slideLayouts/slideLayout1095.xml"/><Relationship Id="rId20" Type="http://schemas.openxmlformats.org/officeDocument/2006/relationships/slideLayout" Target="../slideLayouts/slideLayout1069.xml"/><Relationship Id="rId41" Type="http://schemas.openxmlformats.org/officeDocument/2006/relationships/slideLayout" Target="../slideLayouts/slideLayout1090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9.xml"/><Relationship Id="rId18" Type="http://schemas.openxmlformats.org/officeDocument/2006/relationships/slideLayout" Target="../slideLayouts/slideLayout1114.xml"/><Relationship Id="rId26" Type="http://schemas.openxmlformats.org/officeDocument/2006/relationships/slideLayout" Target="../slideLayouts/slideLayout1122.xml"/><Relationship Id="rId39" Type="http://schemas.openxmlformats.org/officeDocument/2006/relationships/slideLayout" Target="../slideLayouts/slideLayout1135.xml"/><Relationship Id="rId21" Type="http://schemas.openxmlformats.org/officeDocument/2006/relationships/slideLayout" Target="../slideLayouts/slideLayout1117.xml"/><Relationship Id="rId34" Type="http://schemas.openxmlformats.org/officeDocument/2006/relationships/slideLayout" Target="../slideLayouts/slideLayout1130.xml"/><Relationship Id="rId42" Type="http://schemas.openxmlformats.org/officeDocument/2006/relationships/slideLayout" Target="../slideLayouts/slideLayout1138.xml"/><Relationship Id="rId47" Type="http://schemas.openxmlformats.org/officeDocument/2006/relationships/theme" Target="../theme/theme21.xml"/><Relationship Id="rId7" Type="http://schemas.openxmlformats.org/officeDocument/2006/relationships/slideLayout" Target="../slideLayouts/slideLayout1103.xml"/><Relationship Id="rId2" Type="http://schemas.openxmlformats.org/officeDocument/2006/relationships/slideLayout" Target="../slideLayouts/slideLayout1098.xml"/><Relationship Id="rId16" Type="http://schemas.openxmlformats.org/officeDocument/2006/relationships/slideLayout" Target="../slideLayouts/slideLayout1112.xml"/><Relationship Id="rId29" Type="http://schemas.openxmlformats.org/officeDocument/2006/relationships/slideLayout" Target="../slideLayouts/slideLayout1125.xml"/><Relationship Id="rId1" Type="http://schemas.openxmlformats.org/officeDocument/2006/relationships/slideLayout" Target="../slideLayouts/slideLayout1097.xml"/><Relationship Id="rId6" Type="http://schemas.openxmlformats.org/officeDocument/2006/relationships/slideLayout" Target="../slideLayouts/slideLayout1102.xml"/><Relationship Id="rId11" Type="http://schemas.openxmlformats.org/officeDocument/2006/relationships/slideLayout" Target="../slideLayouts/slideLayout1107.xml"/><Relationship Id="rId24" Type="http://schemas.openxmlformats.org/officeDocument/2006/relationships/slideLayout" Target="../slideLayouts/slideLayout1120.xml"/><Relationship Id="rId32" Type="http://schemas.openxmlformats.org/officeDocument/2006/relationships/slideLayout" Target="../slideLayouts/slideLayout1128.xml"/><Relationship Id="rId37" Type="http://schemas.openxmlformats.org/officeDocument/2006/relationships/slideLayout" Target="../slideLayouts/slideLayout1133.xml"/><Relationship Id="rId40" Type="http://schemas.openxmlformats.org/officeDocument/2006/relationships/slideLayout" Target="../slideLayouts/slideLayout1136.xml"/><Relationship Id="rId45" Type="http://schemas.openxmlformats.org/officeDocument/2006/relationships/slideLayout" Target="../slideLayouts/slideLayout1141.xml"/><Relationship Id="rId5" Type="http://schemas.openxmlformats.org/officeDocument/2006/relationships/slideLayout" Target="../slideLayouts/slideLayout1101.xml"/><Relationship Id="rId15" Type="http://schemas.openxmlformats.org/officeDocument/2006/relationships/slideLayout" Target="../slideLayouts/slideLayout1111.xml"/><Relationship Id="rId23" Type="http://schemas.openxmlformats.org/officeDocument/2006/relationships/slideLayout" Target="../slideLayouts/slideLayout1119.xml"/><Relationship Id="rId28" Type="http://schemas.openxmlformats.org/officeDocument/2006/relationships/slideLayout" Target="../slideLayouts/slideLayout1124.xml"/><Relationship Id="rId36" Type="http://schemas.openxmlformats.org/officeDocument/2006/relationships/slideLayout" Target="../slideLayouts/slideLayout1132.xml"/><Relationship Id="rId10" Type="http://schemas.openxmlformats.org/officeDocument/2006/relationships/slideLayout" Target="../slideLayouts/slideLayout1106.xml"/><Relationship Id="rId19" Type="http://schemas.openxmlformats.org/officeDocument/2006/relationships/slideLayout" Target="../slideLayouts/slideLayout1115.xml"/><Relationship Id="rId31" Type="http://schemas.openxmlformats.org/officeDocument/2006/relationships/slideLayout" Target="../slideLayouts/slideLayout1127.xml"/><Relationship Id="rId44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00.xml"/><Relationship Id="rId9" Type="http://schemas.openxmlformats.org/officeDocument/2006/relationships/slideLayout" Target="../slideLayouts/slideLayout1105.xml"/><Relationship Id="rId14" Type="http://schemas.openxmlformats.org/officeDocument/2006/relationships/slideLayout" Target="../slideLayouts/slideLayout1110.xml"/><Relationship Id="rId22" Type="http://schemas.openxmlformats.org/officeDocument/2006/relationships/slideLayout" Target="../slideLayouts/slideLayout1118.xml"/><Relationship Id="rId27" Type="http://schemas.openxmlformats.org/officeDocument/2006/relationships/slideLayout" Target="../slideLayouts/slideLayout1123.xml"/><Relationship Id="rId30" Type="http://schemas.openxmlformats.org/officeDocument/2006/relationships/slideLayout" Target="../slideLayouts/slideLayout1126.xml"/><Relationship Id="rId35" Type="http://schemas.openxmlformats.org/officeDocument/2006/relationships/slideLayout" Target="../slideLayouts/slideLayout1131.xml"/><Relationship Id="rId43" Type="http://schemas.openxmlformats.org/officeDocument/2006/relationships/slideLayout" Target="../slideLayouts/slideLayout1139.xml"/><Relationship Id="rId8" Type="http://schemas.openxmlformats.org/officeDocument/2006/relationships/slideLayout" Target="../slideLayouts/slideLayout1104.xml"/><Relationship Id="rId3" Type="http://schemas.openxmlformats.org/officeDocument/2006/relationships/slideLayout" Target="../slideLayouts/slideLayout1099.xml"/><Relationship Id="rId12" Type="http://schemas.openxmlformats.org/officeDocument/2006/relationships/slideLayout" Target="../slideLayouts/slideLayout1108.xml"/><Relationship Id="rId17" Type="http://schemas.openxmlformats.org/officeDocument/2006/relationships/slideLayout" Target="../slideLayouts/slideLayout1113.xml"/><Relationship Id="rId25" Type="http://schemas.openxmlformats.org/officeDocument/2006/relationships/slideLayout" Target="../slideLayouts/slideLayout1121.xml"/><Relationship Id="rId33" Type="http://schemas.openxmlformats.org/officeDocument/2006/relationships/slideLayout" Target="../slideLayouts/slideLayout1129.xml"/><Relationship Id="rId38" Type="http://schemas.openxmlformats.org/officeDocument/2006/relationships/slideLayout" Target="../slideLayouts/slideLayout1134.xml"/><Relationship Id="rId46" Type="http://schemas.openxmlformats.org/officeDocument/2006/relationships/slideLayout" Target="../slideLayouts/slideLayout1142.xml"/><Relationship Id="rId20" Type="http://schemas.openxmlformats.org/officeDocument/2006/relationships/slideLayout" Target="../slideLayouts/slideLayout1116.xml"/><Relationship Id="rId41" Type="http://schemas.openxmlformats.org/officeDocument/2006/relationships/slideLayout" Target="../slideLayouts/slideLayout1137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5.xml"/><Relationship Id="rId18" Type="http://schemas.openxmlformats.org/officeDocument/2006/relationships/slideLayout" Target="../slideLayouts/slideLayout1160.xml"/><Relationship Id="rId26" Type="http://schemas.openxmlformats.org/officeDocument/2006/relationships/slideLayout" Target="../slideLayouts/slideLayout1168.xml"/><Relationship Id="rId39" Type="http://schemas.openxmlformats.org/officeDocument/2006/relationships/slideLayout" Target="../slideLayouts/slideLayout1181.xml"/><Relationship Id="rId21" Type="http://schemas.openxmlformats.org/officeDocument/2006/relationships/slideLayout" Target="../slideLayouts/slideLayout1163.xml"/><Relationship Id="rId34" Type="http://schemas.openxmlformats.org/officeDocument/2006/relationships/slideLayout" Target="../slideLayouts/slideLayout1176.xml"/><Relationship Id="rId42" Type="http://schemas.openxmlformats.org/officeDocument/2006/relationships/slideLayout" Target="../slideLayouts/slideLayout1184.xml"/><Relationship Id="rId47" Type="http://schemas.openxmlformats.org/officeDocument/2006/relationships/slideLayout" Target="../slideLayouts/slideLayout1189.xml"/><Relationship Id="rId50" Type="http://schemas.openxmlformats.org/officeDocument/2006/relationships/slideLayout" Target="../slideLayouts/slideLayout1192.xml"/><Relationship Id="rId7" Type="http://schemas.openxmlformats.org/officeDocument/2006/relationships/slideLayout" Target="../slideLayouts/slideLayout1149.xml"/><Relationship Id="rId2" Type="http://schemas.openxmlformats.org/officeDocument/2006/relationships/slideLayout" Target="../slideLayouts/slideLayout1144.xml"/><Relationship Id="rId16" Type="http://schemas.openxmlformats.org/officeDocument/2006/relationships/slideLayout" Target="../slideLayouts/slideLayout1158.xml"/><Relationship Id="rId29" Type="http://schemas.openxmlformats.org/officeDocument/2006/relationships/slideLayout" Target="../slideLayouts/slideLayout1171.xml"/><Relationship Id="rId11" Type="http://schemas.openxmlformats.org/officeDocument/2006/relationships/slideLayout" Target="../slideLayouts/slideLayout1153.xml"/><Relationship Id="rId24" Type="http://schemas.openxmlformats.org/officeDocument/2006/relationships/slideLayout" Target="../slideLayouts/slideLayout1166.xml"/><Relationship Id="rId32" Type="http://schemas.openxmlformats.org/officeDocument/2006/relationships/slideLayout" Target="../slideLayouts/slideLayout1174.xml"/><Relationship Id="rId37" Type="http://schemas.openxmlformats.org/officeDocument/2006/relationships/slideLayout" Target="../slideLayouts/slideLayout1179.xml"/><Relationship Id="rId40" Type="http://schemas.openxmlformats.org/officeDocument/2006/relationships/slideLayout" Target="../slideLayouts/slideLayout1182.xml"/><Relationship Id="rId45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47.xml"/><Relationship Id="rId15" Type="http://schemas.openxmlformats.org/officeDocument/2006/relationships/slideLayout" Target="../slideLayouts/slideLayout1157.xml"/><Relationship Id="rId23" Type="http://schemas.openxmlformats.org/officeDocument/2006/relationships/slideLayout" Target="../slideLayouts/slideLayout1165.xml"/><Relationship Id="rId28" Type="http://schemas.openxmlformats.org/officeDocument/2006/relationships/slideLayout" Target="../slideLayouts/slideLayout1170.xml"/><Relationship Id="rId36" Type="http://schemas.openxmlformats.org/officeDocument/2006/relationships/slideLayout" Target="../slideLayouts/slideLayout1178.xml"/><Relationship Id="rId49" Type="http://schemas.openxmlformats.org/officeDocument/2006/relationships/slideLayout" Target="../slideLayouts/slideLayout1191.xml"/><Relationship Id="rId10" Type="http://schemas.openxmlformats.org/officeDocument/2006/relationships/slideLayout" Target="../slideLayouts/slideLayout1152.xml"/><Relationship Id="rId19" Type="http://schemas.openxmlformats.org/officeDocument/2006/relationships/slideLayout" Target="../slideLayouts/slideLayout1161.xml"/><Relationship Id="rId31" Type="http://schemas.openxmlformats.org/officeDocument/2006/relationships/slideLayout" Target="../slideLayouts/slideLayout1173.xml"/><Relationship Id="rId44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46.xml"/><Relationship Id="rId9" Type="http://schemas.openxmlformats.org/officeDocument/2006/relationships/slideLayout" Target="../slideLayouts/slideLayout1151.xml"/><Relationship Id="rId14" Type="http://schemas.openxmlformats.org/officeDocument/2006/relationships/slideLayout" Target="../slideLayouts/slideLayout1156.xml"/><Relationship Id="rId22" Type="http://schemas.openxmlformats.org/officeDocument/2006/relationships/slideLayout" Target="../slideLayouts/slideLayout1164.xml"/><Relationship Id="rId27" Type="http://schemas.openxmlformats.org/officeDocument/2006/relationships/slideLayout" Target="../slideLayouts/slideLayout1169.xml"/><Relationship Id="rId30" Type="http://schemas.openxmlformats.org/officeDocument/2006/relationships/slideLayout" Target="../slideLayouts/slideLayout1172.xml"/><Relationship Id="rId35" Type="http://schemas.openxmlformats.org/officeDocument/2006/relationships/slideLayout" Target="../slideLayouts/slideLayout1177.xml"/><Relationship Id="rId43" Type="http://schemas.openxmlformats.org/officeDocument/2006/relationships/slideLayout" Target="../slideLayouts/slideLayout1185.xml"/><Relationship Id="rId48" Type="http://schemas.openxmlformats.org/officeDocument/2006/relationships/slideLayout" Target="../slideLayouts/slideLayout1190.xml"/><Relationship Id="rId8" Type="http://schemas.openxmlformats.org/officeDocument/2006/relationships/slideLayout" Target="../slideLayouts/slideLayout1150.xml"/><Relationship Id="rId51" Type="http://schemas.openxmlformats.org/officeDocument/2006/relationships/theme" Target="../theme/theme22.xml"/><Relationship Id="rId3" Type="http://schemas.openxmlformats.org/officeDocument/2006/relationships/slideLayout" Target="../slideLayouts/slideLayout1145.xml"/><Relationship Id="rId12" Type="http://schemas.openxmlformats.org/officeDocument/2006/relationships/slideLayout" Target="../slideLayouts/slideLayout1154.xml"/><Relationship Id="rId17" Type="http://schemas.openxmlformats.org/officeDocument/2006/relationships/slideLayout" Target="../slideLayouts/slideLayout1159.xml"/><Relationship Id="rId25" Type="http://schemas.openxmlformats.org/officeDocument/2006/relationships/slideLayout" Target="../slideLayouts/slideLayout1167.xml"/><Relationship Id="rId33" Type="http://schemas.openxmlformats.org/officeDocument/2006/relationships/slideLayout" Target="../slideLayouts/slideLayout1175.xml"/><Relationship Id="rId38" Type="http://schemas.openxmlformats.org/officeDocument/2006/relationships/slideLayout" Target="../slideLayouts/slideLayout1180.xml"/><Relationship Id="rId46" Type="http://schemas.openxmlformats.org/officeDocument/2006/relationships/slideLayout" Target="../slideLayouts/slideLayout1188.xml"/><Relationship Id="rId20" Type="http://schemas.openxmlformats.org/officeDocument/2006/relationships/slideLayout" Target="../slideLayouts/slideLayout1162.xml"/><Relationship Id="rId41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43.xml"/><Relationship Id="rId6" Type="http://schemas.openxmlformats.org/officeDocument/2006/relationships/slideLayout" Target="../slideLayouts/slideLayout1148.x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5.xml"/><Relationship Id="rId18" Type="http://schemas.openxmlformats.org/officeDocument/2006/relationships/slideLayout" Target="../slideLayouts/slideLayout1210.xml"/><Relationship Id="rId26" Type="http://schemas.openxmlformats.org/officeDocument/2006/relationships/slideLayout" Target="../slideLayouts/slideLayout1218.xml"/><Relationship Id="rId39" Type="http://schemas.openxmlformats.org/officeDocument/2006/relationships/slideLayout" Target="../slideLayouts/slideLayout1231.xml"/><Relationship Id="rId21" Type="http://schemas.openxmlformats.org/officeDocument/2006/relationships/slideLayout" Target="../slideLayouts/slideLayout1213.xml"/><Relationship Id="rId34" Type="http://schemas.openxmlformats.org/officeDocument/2006/relationships/slideLayout" Target="../slideLayouts/slideLayout1226.xml"/><Relationship Id="rId42" Type="http://schemas.openxmlformats.org/officeDocument/2006/relationships/slideLayout" Target="../slideLayouts/slideLayout1234.xml"/><Relationship Id="rId47" Type="http://schemas.openxmlformats.org/officeDocument/2006/relationships/slideLayout" Target="../slideLayouts/slideLayout1239.xml"/><Relationship Id="rId7" Type="http://schemas.openxmlformats.org/officeDocument/2006/relationships/slideLayout" Target="../slideLayouts/slideLayout1199.xml"/><Relationship Id="rId2" Type="http://schemas.openxmlformats.org/officeDocument/2006/relationships/slideLayout" Target="../slideLayouts/slideLayout1194.xml"/><Relationship Id="rId16" Type="http://schemas.openxmlformats.org/officeDocument/2006/relationships/slideLayout" Target="../slideLayouts/slideLayout1208.xml"/><Relationship Id="rId29" Type="http://schemas.openxmlformats.org/officeDocument/2006/relationships/slideLayout" Target="../slideLayouts/slideLayout1221.xml"/><Relationship Id="rId11" Type="http://schemas.openxmlformats.org/officeDocument/2006/relationships/slideLayout" Target="../slideLayouts/slideLayout1203.xml"/><Relationship Id="rId24" Type="http://schemas.openxmlformats.org/officeDocument/2006/relationships/slideLayout" Target="../slideLayouts/slideLayout1216.xml"/><Relationship Id="rId32" Type="http://schemas.openxmlformats.org/officeDocument/2006/relationships/slideLayout" Target="../slideLayouts/slideLayout1224.xml"/><Relationship Id="rId37" Type="http://schemas.openxmlformats.org/officeDocument/2006/relationships/slideLayout" Target="../slideLayouts/slideLayout1229.xml"/><Relationship Id="rId40" Type="http://schemas.openxmlformats.org/officeDocument/2006/relationships/slideLayout" Target="../slideLayouts/slideLayout1232.xml"/><Relationship Id="rId45" Type="http://schemas.openxmlformats.org/officeDocument/2006/relationships/slideLayout" Target="../slideLayouts/slideLayout1237.xml"/><Relationship Id="rId5" Type="http://schemas.openxmlformats.org/officeDocument/2006/relationships/slideLayout" Target="../slideLayouts/slideLayout1197.xml"/><Relationship Id="rId15" Type="http://schemas.openxmlformats.org/officeDocument/2006/relationships/slideLayout" Target="../slideLayouts/slideLayout1207.xml"/><Relationship Id="rId23" Type="http://schemas.openxmlformats.org/officeDocument/2006/relationships/slideLayout" Target="../slideLayouts/slideLayout1215.xml"/><Relationship Id="rId28" Type="http://schemas.openxmlformats.org/officeDocument/2006/relationships/slideLayout" Target="../slideLayouts/slideLayout1220.xml"/><Relationship Id="rId36" Type="http://schemas.openxmlformats.org/officeDocument/2006/relationships/slideLayout" Target="../slideLayouts/slideLayout1228.xml"/><Relationship Id="rId49" Type="http://schemas.openxmlformats.org/officeDocument/2006/relationships/theme" Target="../theme/theme23.xml"/><Relationship Id="rId10" Type="http://schemas.openxmlformats.org/officeDocument/2006/relationships/slideLayout" Target="../slideLayouts/slideLayout1202.xml"/><Relationship Id="rId19" Type="http://schemas.openxmlformats.org/officeDocument/2006/relationships/slideLayout" Target="../slideLayouts/slideLayout1211.xml"/><Relationship Id="rId31" Type="http://schemas.openxmlformats.org/officeDocument/2006/relationships/slideLayout" Target="../slideLayouts/slideLayout1223.xml"/><Relationship Id="rId44" Type="http://schemas.openxmlformats.org/officeDocument/2006/relationships/slideLayout" Target="../slideLayouts/slideLayout1236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slideLayout" Target="../slideLayouts/slideLayout1206.xml"/><Relationship Id="rId22" Type="http://schemas.openxmlformats.org/officeDocument/2006/relationships/slideLayout" Target="../slideLayouts/slideLayout1214.xml"/><Relationship Id="rId27" Type="http://schemas.openxmlformats.org/officeDocument/2006/relationships/slideLayout" Target="../slideLayouts/slideLayout1219.xml"/><Relationship Id="rId30" Type="http://schemas.openxmlformats.org/officeDocument/2006/relationships/slideLayout" Target="../slideLayouts/slideLayout1222.xml"/><Relationship Id="rId35" Type="http://schemas.openxmlformats.org/officeDocument/2006/relationships/slideLayout" Target="../slideLayouts/slideLayout1227.xml"/><Relationship Id="rId43" Type="http://schemas.openxmlformats.org/officeDocument/2006/relationships/slideLayout" Target="../slideLayouts/slideLayout1235.xml"/><Relationship Id="rId48" Type="http://schemas.openxmlformats.org/officeDocument/2006/relationships/slideLayout" Target="../slideLayouts/slideLayout1240.xml"/><Relationship Id="rId8" Type="http://schemas.openxmlformats.org/officeDocument/2006/relationships/slideLayout" Target="../slideLayouts/slideLayout1200.xml"/><Relationship Id="rId3" Type="http://schemas.openxmlformats.org/officeDocument/2006/relationships/slideLayout" Target="../slideLayouts/slideLayout1195.xml"/><Relationship Id="rId12" Type="http://schemas.openxmlformats.org/officeDocument/2006/relationships/slideLayout" Target="../slideLayouts/slideLayout1204.xml"/><Relationship Id="rId17" Type="http://schemas.openxmlformats.org/officeDocument/2006/relationships/slideLayout" Target="../slideLayouts/slideLayout1209.xml"/><Relationship Id="rId25" Type="http://schemas.openxmlformats.org/officeDocument/2006/relationships/slideLayout" Target="../slideLayouts/slideLayout1217.xml"/><Relationship Id="rId33" Type="http://schemas.openxmlformats.org/officeDocument/2006/relationships/slideLayout" Target="../slideLayouts/slideLayout1225.xml"/><Relationship Id="rId38" Type="http://schemas.openxmlformats.org/officeDocument/2006/relationships/slideLayout" Target="../slideLayouts/slideLayout1230.xml"/><Relationship Id="rId46" Type="http://schemas.openxmlformats.org/officeDocument/2006/relationships/slideLayout" Target="../slideLayouts/slideLayout1238.xml"/><Relationship Id="rId20" Type="http://schemas.openxmlformats.org/officeDocument/2006/relationships/slideLayout" Target="../slideLayouts/slideLayout1212.xml"/><Relationship Id="rId41" Type="http://schemas.openxmlformats.org/officeDocument/2006/relationships/slideLayout" Target="../slideLayouts/slideLayout1233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53.xml"/><Relationship Id="rId18" Type="http://schemas.openxmlformats.org/officeDocument/2006/relationships/slideLayout" Target="../slideLayouts/slideLayout1258.xml"/><Relationship Id="rId26" Type="http://schemas.openxmlformats.org/officeDocument/2006/relationships/slideLayout" Target="../slideLayouts/slideLayout1266.xml"/><Relationship Id="rId39" Type="http://schemas.openxmlformats.org/officeDocument/2006/relationships/slideLayout" Target="../slideLayouts/slideLayout1279.xml"/><Relationship Id="rId21" Type="http://schemas.openxmlformats.org/officeDocument/2006/relationships/slideLayout" Target="../slideLayouts/slideLayout1261.xml"/><Relationship Id="rId34" Type="http://schemas.openxmlformats.org/officeDocument/2006/relationships/slideLayout" Target="../slideLayouts/slideLayout1274.xml"/><Relationship Id="rId42" Type="http://schemas.openxmlformats.org/officeDocument/2006/relationships/slideLayout" Target="../slideLayouts/slideLayout1282.xml"/><Relationship Id="rId47" Type="http://schemas.openxmlformats.org/officeDocument/2006/relationships/theme" Target="../theme/theme24.xml"/><Relationship Id="rId7" Type="http://schemas.openxmlformats.org/officeDocument/2006/relationships/slideLayout" Target="../slideLayouts/slideLayout1247.xml"/><Relationship Id="rId2" Type="http://schemas.openxmlformats.org/officeDocument/2006/relationships/slideLayout" Target="../slideLayouts/slideLayout1242.xml"/><Relationship Id="rId16" Type="http://schemas.openxmlformats.org/officeDocument/2006/relationships/slideLayout" Target="../slideLayouts/slideLayout1256.xml"/><Relationship Id="rId29" Type="http://schemas.openxmlformats.org/officeDocument/2006/relationships/slideLayout" Target="../slideLayouts/slideLayout1269.xml"/><Relationship Id="rId1" Type="http://schemas.openxmlformats.org/officeDocument/2006/relationships/slideLayout" Target="../slideLayouts/slideLayout1241.xml"/><Relationship Id="rId6" Type="http://schemas.openxmlformats.org/officeDocument/2006/relationships/slideLayout" Target="../slideLayouts/slideLayout1246.xml"/><Relationship Id="rId11" Type="http://schemas.openxmlformats.org/officeDocument/2006/relationships/slideLayout" Target="../slideLayouts/slideLayout1251.xml"/><Relationship Id="rId24" Type="http://schemas.openxmlformats.org/officeDocument/2006/relationships/slideLayout" Target="../slideLayouts/slideLayout1264.xml"/><Relationship Id="rId32" Type="http://schemas.openxmlformats.org/officeDocument/2006/relationships/slideLayout" Target="../slideLayouts/slideLayout1272.xml"/><Relationship Id="rId37" Type="http://schemas.openxmlformats.org/officeDocument/2006/relationships/slideLayout" Target="../slideLayouts/slideLayout1277.xml"/><Relationship Id="rId40" Type="http://schemas.openxmlformats.org/officeDocument/2006/relationships/slideLayout" Target="../slideLayouts/slideLayout1280.xml"/><Relationship Id="rId45" Type="http://schemas.openxmlformats.org/officeDocument/2006/relationships/slideLayout" Target="../slideLayouts/slideLayout1285.xml"/><Relationship Id="rId5" Type="http://schemas.openxmlformats.org/officeDocument/2006/relationships/slideLayout" Target="../slideLayouts/slideLayout1245.xml"/><Relationship Id="rId15" Type="http://schemas.openxmlformats.org/officeDocument/2006/relationships/slideLayout" Target="../slideLayouts/slideLayout1255.xml"/><Relationship Id="rId23" Type="http://schemas.openxmlformats.org/officeDocument/2006/relationships/slideLayout" Target="../slideLayouts/slideLayout1263.xml"/><Relationship Id="rId28" Type="http://schemas.openxmlformats.org/officeDocument/2006/relationships/slideLayout" Target="../slideLayouts/slideLayout1268.xml"/><Relationship Id="rId36" Type="http://schemas.openxmlformats.org/officeDocument/2006/relationships/slideLayout" Target="../slideLayouts/slideLayout1276.xml"/><Relationship Id="rId10" Type="http://schemas.openxmlformats.org/officeDocument/2006/relationships/slideLayout" Target="../slideLayouts/slideLayout1250.xml"/><Relationship Id="rId19" Type="http://schemas.openxmlformats.org/officeDocument/2006/relationships/slideLayout" Target="../slideLayouts/slideLayout1259.xml"/><Relationship Id="rId31" Type="http://schemas.openxmlformats.org/officeDocument/2006/relationships/slideLayout" Target="../slideLayouts/slideLayout1271.xml"/><Relationship Id="rId44" Type="http://schemas.openxmlformats.org/officeDocument/2006/relationships/slideLayout" Target="../slideLayouts/slideLayout1284.xml"/><Relationship Id="rId4" Type="http://schemas.openxmlformats.org/officeDocument/2006/relationships/slideLayout" Target="../slideLayouts/slideLayout1244.xml"/><Relationship Id="rId9" Type="http://schemas.openxmlformats.org/officeDocument/2006/relationships/slideLayout" Target="../slideLayouts/slideLayout1249.xml"/><Relationship Id="rId14" Type="http://schemas.openxmlformats.org/officeDocument/2006/relationships/slideLayout" Target="../slideLayouts/slideLayout1254.xml"/><Relationship Id="rId22" Type="http://schemas.openxmlformats.org/officeDocument/2006/relationships/slideLayout" Target="../slideLayouts/slideLayout1262.xml"/><Relationship Id="rId27" Type="http://schemas.openxmlformats.org/officeDocument/2006/relationships/slideLayout" Target="../slideLayouts/slideLayout1267.xml"/><Relationship Id="rId30" Type="http://schemas.openxmlformats.org/officeDocument/2006/relationships/slideLayout" Target="../slideLayouts/slideLayout1270.xml"/><Relationship Id="rId35" Type="http://schemas.openxmlformats.org/officeDocument/2006/relationships/slideLayout" Target="../slideLayouts/slideLayout1275.xml"/><Relationship Id="rId43" Type="http://schemas.openxmlformats.org/officeDocument/2006/relationships/slideLayout" Target="../slideLayouts/slideLayout1283.xml"/><Relationship Id="rId8" Type="http://schemas.openxmlformats.org/officeDocument/2006/relationships/slideLayout" Target="../slideLayouts/slideLayout1248.xml"/><Relationship Id="rId3" Type="http://schemas.openxmlformats.org/officeDocument/2006/relationships/slideLayout" Target="../slideLayouts/slideLayout1243.xml"/><Relationship Id="rId12" Type="http://schemas.openxmlformats.org/officeDocument/2006/relationships/slideLayout" Target="../slideLayouts/slideLayout1252.xml"/><Relationship Id="rId17" Type="http://schemas.openxmlformats.org/officeDocument/2006/relationships/slideLayout" Target="../slideLayouts/slideLayout1257.xml"/><Relationship Id="rId25" Type="http://schemas.openxmlformats.org/officeDocument/2006/relationships/slideLayout" Target="../slideLayouts/slideLayout1265.xml"/><Relationship Id="rId33" Type="http://schemas.openxmlformats.org/officeDocument/2006/relationships/slideLayout" Target="../slideLayouts/slideLayout1273.xml"/><Relationship Id="rId38" Type="http://schemas.openxmlformats.org/officeDocument/2006/relationships/slideLayout" Target="../slideLayouts/slideLayout1278.xml"/><Relationship Id="rId46" Type="http://schemas.openxmlformats.org/officeDocument/2006/relationships/slideLayout" Target="../slideLayouts/slideLayout1286.xml"/><Relationship Id="rId20" Type="http://schemas.openxmlformats.org/officeDocument/2006/relationships/slideLayout" Target="../slideLayouts/slideLayout1260.xml"/><Relationship Id="rId41" Type="http://schemas.openxmlformats.org/officeDocument/2006/relationships/slideLayout" Target="../slideLayouts/slideLayout1281.xml"/></Relationships>
</file>

<file path=ppt/slideMasters/_rels/slideMaster2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9.xml"/><Relationship Id="rId18" Type="http://schemas.openxmlformats.org/officeDocument/2006/relationships/slideLayout" Target="../slideLayouts/slideLayout1304.xml"/><Relationship Id="rId26" Type="http://schemas.openxmlformats.org/officeDocument/2006/relationships/slideLayout" Target="../slideLayouts/slideLayout1312.xml"/><Relationship Id="rId39" Type="http://schemas.openxmlformats.org/officeDocument/2006/relationships/slideLayout" Target="../slideLayouts/slideLayout1325.xml"/><Relationship Id="rId21" Type="http://schemas.openxmlformats.org/officeDocument/2006/relationships/slideLayout" Target="../slideLayouts/slideLayout1307.xml"/><Relationship Id="rId34" Type="http://schemas.openxmlformats.org/officeDocument/2006/relationships/slideLayout" Target="../slideLayouts/slideLayout1320.xml"/><Relationship Id="rId42" Type="http://schemas.openxmlformats.org/officeDocument/2006/relationships/slideLayout" Target="../slideLayouts/slideLayout1328.xml"/><Relationship Id="rId47" Type="http://schemas.openxmlformats.org/officeDocument/2006/relationships/slideLayout" Target="../slideLayouts/slideLayout1333.xml"/><Relationship Id="rId7" Type="http://schemas.openxmlformats.org/officeDocument/2006/relationships/slideLayout" Target="../slideLayouts/slideLayout1293.xml"/><Relationship Id="rId2" Type="http://schemas.openxmlformats.org/officeDocument/2006/relationships/slideLayout" Target="../slideLayouts/slideLayout1288.xml"/><Relationship Id="rId16" Type="http://schemas.openxmlformats.org/officeDocument/2006/relationships/slideLayout" Target="../slideLayouts/slideLayout1302.xml"/><Relationship Id="rId29" Type="http://schemas.openxmlformats.org/officeDocument/2006/relationships/slideLayout" Target="../slideLayouts/slideLayout1315.xml"/><Relationship Id="rId11" Type="http://schemas.openxmlformats.org/officeDocument/2006/relationships/slideLayout" Target="../slideLayouts/slideLayout1297.xml"/><Relationship Id="rId24" Type="http://schemas.openxmlformats.org/officeDocument/2006/relationships/slideLayout" Target="../slideLayouts/slideLayout1310.xml"/><Relationship Id="rId32" Type="http://schemas.openxmlformats.org/officeDocument/2006/relationships/slideLayout" Target="../slideLayouts/slideLayout1318.xml"/><Relationship Id="rId37" Type="http://schemas.openxmlformats.org/officeDocument/2006/relationships/slideLayout" Target="../slideLayouts/slideLayout1323.xml"/><Relationship Id="rId40" Type="http://schemas.openxmlformats.org/officeDocument/2006/relationships/slideLayout" Target="../slideLayouts/slideLayout1326.xml"/><Relationship Id="rId45" Type="http://schemas.openxmlformats.org/officeDocument/2006/relationships/slideLayout" Target="../slideLayouts/slideLayout1331.xml"/><Relationship Id="rId5" Type="http://schemas.openxmlformats.org/officeDocument/2006/relationships/slideLayout" Target="../slideLayouts/slideLayout1291.xml"/><Relationship Id="rId15" Type="http://schemas.openxmlformats.org/officeDocument/2006/relationships/slideLayout" Target="../slideLayouts/slideLayout1301.xml"/><Relationship Id="rId23" Type="http://schemas.openxmlformats.org/officeDocument/2006/relationships/slideLayout" Target="../slideLayouts/slideLayout1309.xml"/><Relationship Id="rId28" Type="http://schemas.openxmlformats.org/officeDocument/2006/relationships/slideLayout" Target="../slideLayouts/slideLayout1314.xml"/><Relationship Id="rId36" Type="http://schemas.openxmlformats.org/officeDocument/2006/relationships/slideLayout" Target="../slideLayouts/slideLayout1322.xml"/><Relationship Id="rId49" Type="http://schemas.openxmlformats.org/officeDocument/2006/relationships/theme" Target="../theme/theme25.xml"/><Relationship Id="rId10" Type="http://schemas.openxmlformats.org/officeDocument/2006/relationships/slideLayout" Target="../slideLayouts/slideLayout1296.xml"/><Relationship Id="rId19" Type="http://schemas.openxmlformats.org/officeDocument/2006/relationships/slideLayout" Target="../slideLayouts/slideLayout1305.xml"/><Relationship Id="rId31" Type="http://schemas.openxmlformats.org/officeDocument/2006/relationships/slideLayout" Target="../slideLayouts/slideLayout1317.xml"/><Relationship Id="rId44" Type="http://schemas.openxmlformats.org/officeDocument/2006/relationships/slideLayout" Target="../slideLayouts/slideLayout1330.xml"/><Relationship Id="rId4" Type="http://schemas.openxmlformats.org/officeDocument/2006/relationships/slideLayout" Target="../slideLayouts/slideLayout1290.xml"/><Relationship Id="rId9" Type="http://schemas.openxmlformats.org/officeDocument/2006/relationships/slideLayout" Target="../slideLayouts/slideLayout1295.xml"/><Relationship Id="rId14" Type="http://schemas.openxmlformats.org/officeDocument/2006/relationships/slideLayout" Target="../slideLayouts/slideLayout1300.xml"/><Relationship Id="rId22" Type="http://schemas.openxmlformats.org/officeDocument/2006/relationships/slideLayout" Target="../slideLayouts/slideLayout1308.xml"/><Relationship Id="rId27" Type="http://schemas.openxmlformats.org/officeDocument/2006/relationships/slideLayout" Target="../slideLayouts/slideLayout1313.xml"/><Relationship Id="rId30" Type="http://schemas.openxmlformats.org/officeDocument/2006/relationships/slideLayout" Target="../slideLayouts/slideLayout1316.xml"/><Relationship Id="rId35" Type="http://schemas.openxmlformats.org/officeDocument/2006/relationships/slideLayout" Target="../slideLayouts/slideLayout1321.xml"/><Relationship Id="rId43" Type="http://schemas.openxmlformats.org/officeDocument/2006/relationships/slideLayout" Target="../slideLayouts/slideLayout1329.xml"/><Relationship Id="rId48" Type="http://schemas.openxmlformats.org/officeDocument/2006/relationships/slideLayout" Target="../slideLayouts/slideLayout1334.xml"/><Relationship Id="rId8" Type="http://schemas.openxmlformats.org/officeDocument/2006/relationships/slideLayout" Target="../slideLayouts/slideLayout1294.xml"/><Relationship Id="rId3" Type="http://schemas.openxmlformats.org/officeDocument/2006/relationships/slideLayout" Target="../slideLayouts/slideLayout1289.xml"/><Relationship Id="rId12" Type="http://schemas.openxmlformats.org/officeDocument/2006/relationships/slideLayout" Target="../slideLayouts/slideLayout1298.xml"/><Relationship Id="rId17" Type="http://schemas.openxmlformats.org/officeDocument/2006/relationships/slideLayout" Target="../slideLayouts/slideLayout1303.xml"/><Relationship Id="rId25" Type="http://schemas.openxmlformats.org/officeDocument/2006/relationships/slideLayout" Target="../slideLayouts/slideLayout1311.xml"/><Relationship Id="rId33" Type="http://schemas.openxmlformats.org/officeDocument/2006/relationships/slideLayout" Target="../slideLayouts/slideLayout1319.xml"/><Relationship Id="rId38" Type="http://schemas.openxmlformats.org/officeDocument/2006/relationships/slideLayout" Target="../slideLayouts/slideLayout1324.xml"/><Relationship Id="rId46" Type="http://schemas.openxmlformats.org/officeDocument/2006/relationships/slideLayout" Target="../slideLayouts/slideLayout1332.xml"/><Relationship Id="rId20" Type="http://schemas.openxmlformats.org/officeDocument/2006/relationships/slideLayout" Target="../slideLayouts/slideLayout1306.xml"/><Relationship Id="rId41" Type="http://schemas.openxmlformats.org/officeDocument/2006/relationships/slideLayout" Target="../slideLayouts/slideLayout1327.xml"/><Relationship Id="rId1" Type="http://schemas.openxmlformats.org/officeDocument/2006/relationships/slideLayout" Target="../slideLayouts/slideLayout1287.xml"/><Relationship Id="rId6" Type="http://schemas.openxmlformats.org/officeDocument/2006/relationships/slideLayout" Target="../slideLayouts/slideLayout1292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7.xml"/><Relationship Id="rId18" Type="http://schemas.openxmlformats.org/officeDocument/2006/relationships/slideLayout" Target="../slideLayouts/slideLayout1352.xml"/><Relationship Id="rId26" Type="http://schemas.openxmlformats.org/officeDocument/2006/relationships/slideLayout" Target="../slideLayouts/slideLayout1360.xml"/><Relationship Id="rId39" Type="http://schemas.openxmlformats.org/officeDocument/2006/relationships/slideLayout" Target="../slideLayouts/slideLayout1373.xml"/><Relationship Id="rId21" Type="http://schemas.openxmlformats.org/officeDocument/2006/relationships/slideLayout" Target="../slideLayouts/slideLayout1355.xml"/><Relationship Id="rId34" Type="http://schemas.openxmlformats.org/officeDocument/2006/relationships/slideLayout" Target="../slideLayouts/slideLayout1368.xml"/><Relationship Id="rId42" Type="http://schemas.openxmlformats.org/officeDocument/2006/relationships/slideLayout" Target="../slideLayouts/slideLayout1376.xml"/><Relationship Id="rId47" Type="http://schemas.openxmlformats.org/officeDocument/2006/relationships/slideLayout" Target="../slideLayouts/slideLayout1381.xml"/><Relationship Id="rId7" Type="http://schemas.openxmlformats.org/officeDocument/2006/relationships/slideLayout" Target="../slideLayouts/slideLayout1341.xml"/><Relationship Id="rId2" Type="http://schemas.openxmlformats.org/officeDocument/2006/relationships/slideLayout" Target="../slideLayouts/slideLayout1336.xml"/><Relationship Id="rId16" Type="http://schemas.openxmlformats.org/officeDocument/2006/relationships/slideLayout" Target="../slideLayouts/slideLayout1350.xml"/><Relationship Id="rId29" Type="http://schemas.openxmlformats.org/officeDocument/2006/relationships/slideLayout" Target="../slideLayouts/slideLayout1363.xml"/><Relationship Id="rId1" Type="http://schemas.openxmlformats.org/officeDocument/2006/relationships/slideLayout" Target="../slideLayouts/slideLayout1335.xml"/><Relationship Id="rId6" Type="http://schemas.openxmlformats.org/officeDocument/2006/relationships/slideLayout" Target="../slideLayouts/slideLayout1340.xml"/><Relationship Id="rId11" Type="http://schemas.openxmlformats.org/officeDocument/2006/relationships/slideLayout" Target="../slideLayouts/slideLayout1345.xml"/><Relationship Id="rId24" Type="http://schemas.openxmlformats.org/officeDocument/2006/relationships/slideLayout" Target="../slideLayouts/slideLayout1358.xml"/><Relationship Id="rId32" Type="http://schemas.openxmlformats.org/officeDocument/2006/relationships/slideLayout" Target="../slideLayouts/slideLayout1366.xml"/><Relationship Id="rId37" Type="http://schemas.openxmlformats.org/officeDocument/2006/relationships/slideLayout" Target="../slideLayouts/slideLayout1371.xml"/><Relationship Id="rId40" Type="http://schemas.openxmlformats.org/officeDocument/2006/relationships/slideLayout" Target="../slideLayouts/slideLayout1374.xml"/><Relationship Id="rId45" Type="http://schemas.openxmlformats.org/officeDocument/2006/relationships/slideLayout" Target="../slideLayouts/slideLayout1379.xml"/><Relationship Id="rId5" Type="http://schemas.openxmlformats.org/officeDocument/2006/relationships/slideLayout" Target="../slideLayouts/slideLayout1339.xml"/><Relationship Id="rId15" Type="http://schemas.openxmlformats.org/officeDocument/2006/relationships/slideLayout" Target="../slideLayouts/slideLayout1349.xml"/><Relationship Id="rId23" Type="http://schemas.openxmlformats.org/officeDocument/2006/relationships/slideLayout" Target="../slideLayouts/slideLayout1357.xml"/><Relationship Id="rId28" Type="http://schemas.openxmlformats.org/officeDocument/2006/relationships/slideLayout" Target="../slideLayouts/slideLayout1362.xml"/><Relationship Id="rId36" Type="http://schemas.openxmlformats.org/officeDocument/2006/relationships/slideLayout" Target="../slideLayouts/slideLayout1370.xml"/><Relationship Id="rId10" Type="http://schemas.openxmlformats.org/officeDocument/2006/relationships/slideLayout" Target="../slideLayouts/slideLayout1344.xml"/><Relationship Id="rId19" Type="http://schemas.openxmlformats.org/officeDocument/2006/relationships/slideLayout" Target="../slideLayouts/slideLayout1353.xml"/><Relationship Id="rId31" Type="http://schemas.openxmlformats.org/officeDocument/2006/relationships/slideLayout" Target="../slideLayouts/slideLayout1365.xml"/><Relationship Id="rId44" Type="http://schemas.openxmlformats.org/officeDocument/2006/relationships/slideLayout" Target="../slideLayouts/slideLayout1378.xml"/><Relationship Id="rId4" Type="http://schemas.openxmlformats.org/officeDocument/2006/relationships/slideLayout" Target="../slideLayouts/slideLayout1338.xml"/><Relationship Id="rId9" Type="http://schemas.openxmlformats.org/officeDocument/2006/relationships/slideLayout" Target="../slideLayouts/slideLayout1343.xml"/><Relationship Id="rId14" Type="http://schemas.openxmlformats.org/officeDocument/2006/relationships/slideLayout" Target="../slideLayouts/slideLayout1348.xml"/><Relationship Id="rId22" Type="http://schemas.openxmlformats.org/officeDocument/2006/relationships/slideLayout" Target="../slideLayouts/slideLayout1356.xml"/><Relationship Id="rId27" Type="http://schemas.openxmlformats.org/officeDocument/2006/relationships/slideLayout" Target="../slideLayouts/slideLayout1361.xml"/><Relationship Id="rId30" Type="http://schemas.openxmlformats.org/officeDocument/2006/relationships/slideLayout" Target="../slideLayouts/slideLayout1364.xml"/><Relationship Id="rId35" Type="http://schemas.openxmlformats.org/officeDocument/2006/relationships/slideLayout" Target="../slideLayouts/slideLayout1369.xml"/><Relationship Id="rId43" Type="http://schemas.openxmlformats.org/officeDocument/2006/relationships/slideLayout" Target="../slideLayouts/slideLayout1377.xml"/><Relationship Id="rId48" Type="http://schemas.openxmlformats.org/officeDocument/2006/relationships/theme" Target="../theme/theme26.xml"/><Relationship Id="rId8" Type="http://schemas.openxmlformats.org/officeDocument/2006/relationships/slideLayout" Target="../slideLayouts/slideLayout1342.xml"/><Relationship Id="rId3" Type="http://schemas.openxmlformats.org/officeDocument/2006/relationships/slideLayout" Target="../slideLayouts/slideLayout1337.xml"/><Relationship Id="rId12" Type="http://schemas.openxmlformats.org/officeDocument/2006/relationships/slideLayout" Target="../slideLayouts/slideLayout1346.xml"/><Relationship Id="rId17" Type="http://schemas.openxmlformats.org/officeDocument/2006/relationships/slideLayout" Target="../slideLayouts/slideLayout1351.xml"/><Relationship Id="rId25" Type="http://schemas.openxmlformats.org/officeDocument/2006/relationships/slideLayout" Target="../slideLayouts/slideLayout1359.xml"/><Relationship Id="rId33" Type="http://schemas.openxmlformats.org/officeDocument/2006/relationships/slideLayout" Target="../slideLayouts/slideLayout1367.xml"/><Relationship Id="rId38" Type="http://schemas.openxmlformats.org/officeDocument/2006/relationships/slideLayout" Target="../slideLayouts/slideLayout1372.xml"/><Relationship Id="rId46" Type="http://schemas.openxmlformats.org/officeDocument/2006/relationships/slideLayout" Target="../slideLayouts/slideLayout1380.xml"/><Relationship Id="rId20" Type="http://schemas.openxmlformats.org/officeDocument/2006/relationships/slideLayout" Target="../slideLayouts/slideLayout1354.xml"/><Relationship Id="rId41" Type="http://schemas.openxmlformats.org/officeDocument/2006/relationships/slideLayout" Target="../slideLayouts/slideLayout1375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94.xml"/><Relationship Id="rId18" Type="http://schemas.openxmlformats.org/officeDocument/2006/relationships/slideLayout" Target="../slideLayouts/slideLayout1399.xml"/><Relationship Id="rId26" Type="http://schemas.openxmlformats.org/officeDocument/2006/relationships/slideLayout" Target="../slideLayouts/slideLayout1407.xml"/><Relationship Id="rId39" Type="http://schemas.openxmlformats.org/officeDocument/2006/relationships/slideLayout" Target="../slideLayouts/slideLayout1420.xml"/><Relationship Id="rId21" Type="http://schemas.openxmlformats.org/officeDocument/2006/relationships/slideLayout" Target="../slideLayouts/slideLayout1402.xml"/><Relationship Id="rId34" Type="http://schemas.openxmlformats.org/officeDocument/2006/relationships/slideLayout" Target="../slideLayouts/slideLayout1415.xml"/><Relationship Id="rId42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388.xml"/><Relationship Id="rId2" Type="http://schemas.openxmlformats.org/officeDocument/2006/relationships/slideLayout" Target="../slideLayouts/slideLayout1383.xml"/><Relationship Id="rId16" Type="http://schemas.openxmlformats.org/officeDocument/2006/relationships/slideLayout" Target="../slideLayouts/slideLayout1397.xml"/><Relationship Id="rId29" Type="http://schemas.openxmlformats.org/officeDocument/2006/relationships/slideLayout" Target="../slideLayouts/slideLayout1410.xml"/><Relationship Id="rId1" Type="http://schemas.openxmlformats.org/officeDocument/2006/relationships/slideLayout" Target="../slideLayouts/slideLayout1382.xml"/><Relationship Id="rId6" Type="http://schemas.openxmlformats.org/officeDocument/2006/relationships/slideLayout" Target="../slideLayouts/slideLayout1387.xml"/><Relationship Id="rId11" Type="http://schemas.openxmlformats.org/officeDocument/2006/relationships/slideLayout" Target="../slideLayouts/slideLayout1392.xml"/><Relationship Id="rId24" Type="http://schemas.openxmlformats.org/officeDocument/2006/relationships/slideLayout" Target="../slideLayouts/slideLayout1405.xml"/><Relationship Id="rId32" Type="http://schemas.openxmlformats.org/officeDocument/2006/relationships/slideLayout" Target="../slideLayouts/slideLayout1413.xml"/><Relationship Id="rId37" Type="http://schemas.openxmlformats.org/officeDocument/2006/relationships/slideLayout" Target="../slideLayouts/slideLayout1418.xml"/><Relationship Id="rId40" Type="http://schemas.openxmlformats.org/officeDocument/2006/relationships/slideLayout" Target="../slideLayouts/slideLayout1421.xml"/><Relationship Id="rId45" Type="http://schemas.openxmlformats.org/officeDocument/2006/relationships/theme" Target="../theme/theme27.xml"/><Relationship Id="rId5" Type="http://schemas.openxmlformats.org/officeDocument/2006/relationships/slideLayout" Target="../slideLayouts/slideLayout1386.xml"/><Relationship Id="rId15" Type="http://schemas.openxmlformats.org/officeDocument/2006/relationships/slideLayout" Target="../slideLayouts/slideLayout1396.xml"/><Relationship Id="rId23" Type="http://schemas.openxmlformats.org/officeDocument/2006/relationships/slideLayout" Target="../slideLayouts/slideLayout1404.xml"/><Relationship Id="rId28" Type="http://schemas.openxmlformats.org/officeDocument/2006/relationships/slideLayout" Target="../slideLayouts/slideLayout1409.xml"/><Relationship Id="rId36" Type="http://schemas.openxmlformats.org/officeDocument/2006/relationships/slideLayout" Target="../slideLayouts/slideLayout1417.xml"/><Relationship Id="rId10" Type="http://schemas.openxmlformats.org/officeDocument/2006/relationships/slideLayout" Target="../slideLayouts/slideLayout1391.xml"/><Relationship Id="rId19" Type="http://schemas.openxmlformats.org/officeDocument/2006/relationships/slideLayout" Target="../slideLayouts/slideLayout1400.xml"/><Relationship Id="rId31" Type="http://schemas.openxmlformats.org/officeDocument/2006/relationships/slideLayout" Target="../slideLayouts/slideLayout1412.xml"/><Relationship Id="rId44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385.xml"/><Relationship Id="rId9" Type="http://schemas.openxmlformats.org/officeDocument/2006/relationships/slideLayout" Target="../slideLayouts/slideLayout1390.xml"/><Relationship Id="rId14" Type="http://schemas.openxmlformats.org/officeDocument/2006/relationships/slideLayout" Target="../slideLayouts/slideLayout1395.xml"/><Relationship Id="rId22" Type="http://schemas.openxmlformats.org/officeDocument/2006/relationships/slideLayout" Target="../slideLayouts/slideLayout1403.xml"/><Relationship Id="rId27" Type="http://schemas.openxmlformats.org/officeDocument/2006/relationships/slideLayout" Target="../slideLayouts/slideLayout1408.xml"/><Relationship Id="rId30" Type="http://schemas.openxmlformats.org/officeDocument/2006/relationships/slideLayout" Target="../slideLayouts/slideLayout1411.xml"/><Relationship Id="rId35" Type="http://schemas.openxmlformats.org/officeDocument/2006/relationships/slideLayout" Target="../slideLayouts/slideLayout1416.xml"/><Relationship Id="rId43" Type="http://schemas.openxmlformats.org/officeDocument/2006/relationships/slideLayout" Target="../slideLayouts/slideLayout1424.xml"/><Relationship Id="rId8" Type="http://schemas.openxmlformats.org/officeDocument/2006/relationships/slideLayout" Target="../slideLayouts/slideLayout1389.xml"/><Relationship Id="rId3" Type="http://schemas.openxmlformats.org/officeDocument/2006/relationships/slideLayout" Target="../slideLayouts/slideLayout1384.xml"/><Relationship Id="rId12" Type="http://schemas.openxmlformats.org/officeDocument/2006/relationships/slideLayout" Target="../slideLayouts/slideLayout1393.xml"/><Relationship Id="rId17" Type="http://schemas.openxmlformats.org/officeDocument/2006/relationships/slideLayout" Target="../slideLayouts/slideLayout1398.xml"/><Relationship Id="rId25" Type="http://schemas.openxmlformats.org/officeDocument/2006/relationships/slideLayout" Target="../slideLayouts/slideLayout1406.xml"/><Relationship Id="rId33" Type="http://schemas.openxmlformats.org/officeDocument/2006/relationships/slideLayout" Target="../slideLayouts/slideLayout1414.xml"/><Relationship Id="rId38" Type="http://schemas.openxmlformats.org/officeDocument/2006/relationships/slideLayout" Target="../slideLayouts/slideLayout1419.xml"/><Relationship Id="rId20" Type="http://schemas.openxmlformats.org/officeDocument/2006/relationships/slideLayout" Target="../slideLayouts/slideLayout1401.xml"/><Relationship Id="rId41" Type="http://schemas.openxmlformats.org/officeDocument/2006/relationships/slideLayout" Target="../slideLayouts/slideLayout142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9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42" Type="http://schemas.openxmlformats.org/officeDocument/2006/relationships/slideLayout" Target="../slideLayouts/slideLayout134.xml"/><Relationship Id="rId47" Type="http://schemas.openxmlformats.org/officeDocument/2006/relationships/slideLayout" Target="../slideLayouts/slideLayout139.xml"/><Relationship Id="rId50" Type="http://schemas.openxmlformats.org/officeDocument/2006/relationships/slideLayout" Target="../slideLayouts/slideLayout142.xml"/><Relationship Id="rId55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2.xml"/><Relationship Id="rId45" Type="http://schemas.openxmlformats.org/officeDocument/2006/relationships/slideLayout" Target="../slideLayouts/slideLayout137.xml"/><Relationship Id="rId53" Type="http://schemas.openxmlformats.org/officeDocument/2006/relationships/slideLayout" Target="../slideLayouts/slideLayout145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97.xml"/><Relationship Id="rId61" Type="http://schemas.openxmlformats.org/officeDocument/2006/relationships/image" Target="../media/image3.emf"/><Relationship Id="rId1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slideLayout" Target="../slideLayouts/slideLayout127.xml"/><Relationship Id="rId43" Type="http://schemas.openxmlformats.org/officeDocument/2006/relationships/slideLayout" Target="../slideLayouts/slideLayout135.xml"/><Relationship Id="rId48" Type="http://schemas.openxmlformats.org/officeDocument/2006/relationships/slideLayout" Target="../slideLayouts/slideLayout140.xml"/><Relationship Id="rId56" Type="http://schemas.openxmlformats.org/officeDocument/2006/relationships/slideLayout" Target="../slideLayouts/slideLayout148.xml"/><Relationship Id="rId8" Type="http://schemas.openxmlformats.org/officeDocument/2006/relationships/slideLayout" Target="../slideLayouts/slideLayout100.xml"/><Relationship Id="rId51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38" Type="http://schemas.openxmlformats.org/officeDocument/2006/relationships/slideLayout" Target="../slideLayouts/slideLayout130.xml"/><Relationship Id="rId46" Type="http://schemas.openxmlformats.org/officeDocument/2006/relationships/slideLayout" Target="../slideLayouts/slideLayout138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33.xml"/><Relationship Id="rId54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slideLayout" Target="../slideLayouts/slideLayout128.xml"/><Relationship Id="rId49" Type="http://schemas.openxmlformats.org/officeDocument/2006/relationships/slideLayout" Target="../slideLayouts/slideLayout141.xml"/><Relationship Id="rId57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23.xml"/><Relationship Id="rId44" Type="http://schemas.openxmlformats.org/officeDocument/2006/relationships/slideLayout" Target="../slideLayouts/slideLayout136.xml"/><Relationship Id="rId52" Type="http://schemas.openxmlformats.org/officeDocument/2006/relationships/slideLayout" Target="../slideLayouts/slideLayout144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9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170.xml"/><Relationship Id="rId34" Type="http://schemas.openxmlformats.org/officeDocument/2006/relationships/slideLayout" Target="../slideLayouts/slideLayout183.xml"/><Relationship Id="rId42" Type="http://schemas.openxmlformats.org/officeDocument/2006/relationships/slideLayout" Target="../slideLayouts/slideLayout191.xml"/><Relationship Id="rId47" Type="http://schemas.openxmlformats.org/officeDocument/2006/relationships/slideLayout" Target="../slideLayouts/slideLayout196.xml"/><Relationship Id="rId50" Type="http://schemas.openxmlformats.org/officeDocument/2006/relationships/slideLayout" Target="../slideLayouts/slideLayout199.xml"/><Relationship Id="rId55" Type="http://schemas.openxmlformats.org/officeDocument/2006/relationships/slideLayout" Target="../slideLayouts/slideLayout204.xml"/><Relationship Id="rId63" Type="http://schemas.openxmlformats.org/officeDocument/2006/relationships/image" Target="../media/image3.emf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slideLayout" Target="../slideLayouts/slideLayout181.xml"/><Relationship Id="rId37" Type="http://schemas.openxmlformats.org/officeDocument/2006/relationships/slideLayout" Target="../slideLayouts/slideLayout186.xml"/><Relationship Id="rId40" Type="http://schemas.openxmlformats.org/officeDocument/2006/relationships/slideLayout" Target="../slideLayouts/slideLayout189.xml"/><Relationship Id="rId45" Type="http://schemas.openxmlformats.org/officeDocument/2006/relationships/slideLayout" Target="../slideLayouts/slideLayout194.xml"/><Relationship Id="rId53" Type="http://schemas.openxmlformats.org/officeDocument/2006/relationships/slideLayout" Target="../slideLayouts/slideLayout202.xml"/><Relationship Id="rId58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154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35" Type="http://schemas.openxmlformats.org/officeDocument/2006/relationships/slideLayout" Target="../slideLayouts/slideLayout184.xml"/><Relationship Id="rId43" Type="http://schemas.openxmlformats.org/officeDocument/2006/relationships/slideLayout" Target="../slideLayouts/slideLayout192.xml"/><Relationship Id="rId48" Type="http://schemas.openxmlformats.org/officeDocument/2006/relationships/slideLayout" Target="../slideLayouts/slideLayout197.xml"/><Relationship Id="rId56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157.xml"/><Relationship Id="rId51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slideLayout" Target="../slideLayouts/slideLayout182.xml"/><Relationship Id="rId38" Type="http://schemas.openxmlformats.org/officeDocument/2006/relationships/slideLayout" Target="../slideLayouts/slideLayout187.xml"/><Relationship Id="rId46" Type="http://schemas.openxmlformats.org/officeDocument/2006/relationships/slideLayout" Target="../slideLayouts/slideLayout195.xml"/><Relationship Id="rId59" Type="http://schemas.openxmlformats.org/officeDocument/2006/relationships/slideLayout" Target="../slideLayouts/slideLayout208.xml"/><Relationship Id="rId20" Type="http://schemas.openxmlformats.org/officeDocument/2006/relationships/slideLayout" Target="../slideLayouts/slideLayout169.xml"/><Relationship Id="rId41" Type="http://schemas.openxmlformats.org/officeDocument/2006/relationships/slideLayout" Target="../slideLayouts/slideLayout190.xml"/><Relationship Id="rId54" Type="http://schemas.openxmlformats.org/officeDocument/2006/relationships/slideLayout" Target="../slideLayouts/slideLayout203.xml"/><Relationship Id="rId62" Type="http://schemas.openxmlformats.org/officeDocument/2006/relationships/oleObject" Target="../embeddings/oleObject2.bin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36" Type="http://schemas.openxmlformats.org/officeDocument/2006/relationships/slideLayout" Target="../slideLayouts/slideLayout185.xml"/><Relationship Id="rId49" Type="http://schemas.openxmlformats.org/officeDocument/2006/relationships/slideLayout" Target="../slideLayouts/slideLayout198.xml"/><Relationship Id="rId57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159.xml"/><Relationship Id="rId31" Type="http://schemas.openxmlformats.org/officeDocument/2006/relationships/slideLayout" Target="../slideLayouts/slideLayout180.xml"/><Relationship Id="rId44" Type="http://schemas.openxmlformats.org/officeDocument/2006/relationships/slideLayout" Target="../slideLayouts/slideLayout193.xml"/><Relationship Id="rId52" Type="http://schemas.openxmlformats.org/officeDocument/2006/relationships/slideLayout" Target="../slideLayouts/slideLayout201.xml"/><Relationship Id="rId60" Type="http://schemas.openxmlformats.org/officeDocument/2006/relationships/theme" Target="../theme/theme4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9" Type="http://schemas.openxmlformats.org/officeDocument/2006/relationships/slideLayout" Target="../slideLayouts/slideLayout247.xml"/><Relationship Id="rId21" Type="http://schemas.openxmlformats.org/officeDocument/2006/relationships/slideLayout" Target="../slideLayouts/slideLayout229.xml"/><Relationship Id="rId34" Type="http://schemas.openxmlformats.org/officeDocument/2006/relationships/slideLayout" Target="../slideLayouts/slideLayout242.xml"/><Relationship Id="rId42" Type="http://schemas.openxmlformats.org/officeDocument/2006/relationships/slideLayout" Target="../slideLayouts/slideLayout250.xml"/><Relationship Id="rId47" Type="http://schemas.openxmlformats.org/officeDocument/2006/relationships/slideLayout" Target="../slideLayouts/slideLayout255.xml"/><Relationship Id="rId50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9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slideLayout" Target="../slideLayouts/slideLayout240.xml"/><Relationship Id="rId37" Type="http://schemas.openxmlformats.org/officeDocument/2006/relationships/slideLayout" Target="../slideLayouts/slideLayout245.xml"/><Relationship Id="rId40" Type="http://schemas.openxmlformats.org/officeDocument/2006/relationships/slideLayout" Target="../slideLayouts/slideLayout248.xml"/><Relationship Id="rId45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36" Type="http://schemas.openxmlformats.org/officeDocument/2006/relationships/slideLayout" Target="../slideLayouts/slideLayout244.xml"/><Relationship Id="rId49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slideLayout" Target="../slideLayouts/slideLayout239.xml"/><Relationship Id="rId44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238.xml"/><Relationship Id="rId35" Type="http://schemas.openxmlformats.org/officeDocument/2006/relationships/slideLayout" Target="../slideLayouts/slideLayout243.xml"/><Relationship Id="rId43" Type="http://schemas.openxmlformats.org/officeDocument/2006/relationships/slideLayout" Target="../slideLayouts/slideLayout251.xml"/><Relationship Id="rId48" Type="http://schemas.openxmlformats.org/officeDocument/2006/relationships/slideLayout" Target="../slideLayouts/slideLayout256.xml"/><Relationship Id="rId8" Type="http://schemas.openxmlformats.org/officeDocument/2006/relationships/slideLayout" Target="../slideLayouts/slideLayout216.xml"/><Relationship Id="rId51" Type="http://schemas.openxmlformats.org/officeDocument/2006/relationships/theme" Target="../theme/theme5.xml"/><Relationship Id="rId3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slideLayout" Target="../slideLayouts/slideLayout241.xml"/><Relationship Id="rId38" Type="http://schemas.openxmlformats.org/officeDocument/2006/relationships/slideLayout" Target="../slideLayouts/slideLayout246.xml"/><Relationship Id="rId46" Type="http://schemas.openxmlformats.org/officeDocument/2006/relationships/slideLayout" Target="../slideLayouts/slideLayout254.xml"/><Relationship Id="rId20" Type="http://schemas.openxmlformats.org/officeDocument/2006/relationships/slideLayout" Target="../slideLayouts/slideLayout228.xml"/><Relationship Id="rId41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97.xml"/><Relationship Id="rId21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49" Type="http://schemas.openxmlformats.org/officeDocument/2006/relationships/theme" Target="../theme/theme6.xml"/><Relationship Id="rId10" Type="http://schemas.openxmlformats.org/officeDocument/2006/relationships/slideLayout" Target="../slideLayouts/slideLayout268.xml"/><Relationship Id="rId19" Type="http://schemas.openxmlformats.org/officeDocument/2006/relationships/slideLayout" Target="../slideLayouts/slideLayout277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06.xml"/><Relationship Id="rId8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278.xml"/><Relationship Id="rId41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9.xml"/><Relationship Id="rId18" Type="http://schemas.openxmlformats.org/officeDocument/2006/relationships/slideLayout" Target="../slideLayouts/slideLayout324.xml"/><Relationship Id="rId26" Type="http://schemas.openxmlformats.org/officeDocument/2006/relationships/slideLayout" Target="../slideLayouts/slideLayout332.xml"/><Relationship Id="rId39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27.xml"/><Relationship Id="rId34" Type="http://schemas.openxmlformats.org/officeDocument/2006/relationships/slideLayout" Target="../slideLayouts/slideLayout340.xml"/><Relationship Id="rId42" Type="http://schemas.openxmlformats.org/officeDocument/2006/relationships/slideLayout" Target="../slideLayouts/slideLayout348.xml"/><Relationship Id="rId47" Type="http://schemas.openxmlformats.org/officeDocument/2006/relationships/slideLayout" Target="../slideLayouts/slideLayout353.xml"/><Relationship Id="rId50" Type="http://schemas.openxmlformats.org/officeDocument/2006/relationships/slideLayout" Target="../slideLayouts/slideLayout356.xml"/><Relationship Id="rId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8.xml"/><Relationship Id="rId16" Type="http://schemas.openxmlformats.org/officeDocument/2006/relationships/slideLayout" Target="../slideLayouts/slideLayout322.xml"/><Relationship Id="rId29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17.xml"/><Relationship Id="rId24" Type="http://schemas.openxmlformats.org/officeDocument/2006/relationships/slideLayout" Target="../slideLayouts/slideLayout330.xml"/><Relationship Id="rId32" Type="http://schemas.openxmlformats.org/officeDocument/2006/relationships/slideLayout" Target="../slideLayouts/slideLayout338.xml"/><Relationship Id="rId37" Type="http://schemas.openxmlformats.org/officeDocument/2006/relationships/slideLayout" Target="../slideLayouts/slideLayout343.xml"/><Relationship Id="rId40" Type="http://schemas.openxmlformats.org/officeDocument/2006/relationships/slideLayout" Target="../slideLayouts/slideLayout346.xml"/><Relationship Id="rId45" Type="http://schemas.openxmlformats.org/officeDocument/2006/relationships/slideLayout" Target="../slideLayouts/slideLayout351.xml"/><Relationship Id="rId53" Type="http://schemas.openxmlformats.org/officeDocument/2006/relationships/theme" Target="../theme/theme7.xml"/><Relationship Id="rId5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316.xml"/><Relationship Id="rId19" Type="http://schemas.openxmlformats.org/officeDocument/2006/relationships/slideLayout" Target="../slideLayouts/slideLayout325.xml"/><Relationship Id="rId31" Type="http://schemas.openxmlformats.org/officeDocument/2006/relationships/slideLayout" Target="../slideLayouts/slideLayout337.xml"/><Relationship Id="rId44" Type="http://schemas.openxmlformats.org/officeDocument/2006/relationships/slideLayout" Target="../slideLayouts/slideLayout350.xml"/><Relationship Id="rId52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Relationship Id="rId22" Type="http://schemas.openxmlformats.org/officeDocument/2006/relationships/slideLayout" Target="../slideLayouts/slideLayout328.xml"/><Relationship Id="rId27" Type="http://schemas.openxmlformats.org/officeDocument/2006/relationships/slideLayout" Target="../slideLayouts/slideLayout333.xml"/><Relationship Id="rId30" Type="http://schemas.openxmlformats.org/officeDocument/2006/relationships/slideLayout" Target="../slideLayouts/slideLayout336.xml"/><Relationship Id="rId35" Type="http://schemas.openxmlformats.org/officeDocument/2006/relationships/slideLayout" Target="../slideLayouts/slideLayout341.xml"/><Relationship Id="rId43" Type="http://schemas.openxmlformats.org/officeDocument/2006/relationships/slideLayout" Target="../slideLayouts/slideLayout349.xml"/><Relationship Id="rId48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4.xml"/><Relationship Id="rId51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8.xml"/><Relationship Id="rId17" Type="http://schemas.openxmlformats.org/officeDocument/2006/relationships/slideLayout" Target="../slideLayouts/slideLayout323.xml"/><Relationship Id="rId25" Type="http://schemas.openxmlformats.org/officeDocument/2006/relationships/slideLayout" Target="../slideLayouts/slideLayout331.xml"/><Relationship Id="rId33" Type="http://schemas.openxmlformats.org/officeDocument/2006/relationships/slideLayout" Target="../slideLayouts/slideLayout339.xml"/><Relationship Id="rId38" Type="http://schemas.openxmlformats.org/officeDocument/2006/relationships/slideLayout" Target="../slideLayouts/slideLayout344.xml"/><Relationship Id="rId46" Type="http://schemas.openxmlformats.org/officeDocument/2006/relationships/slideLayout" Target="../slideLayouts/slideLayout352.xml"/><Relationship Id="rId20" Type="http://schemas.openxmlformats.org/officeDocument/2006/relationships/slideLayout" Target="../slideLayouts/slideLayout326.xml"/><Relationship Id="rId41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5" Type="http://schemas.openxmlformats.org/officeDocument/2006/relationships/slideLayout" Target="../slideLayouts/slideLayout321.xml"/><Relationship Id="rId23" Type="http://schemas.openxmlformats.org/officeDocument/2006/relationships/slideLayout" Target="../slideLayouts/slideLayout329.xml"/><Relationship Id="rId28" Type="http://schemas.openxmlformats.org/officeDocument/2006/relationships/slideLayout" Target="../slideLayouts/slideLayout334.xml"/><Relationship Id="rId36" Type="http://schemas.openxmlformats.org/officeDocument/2006/relationships/slideLayout" Target="../slideLayouts/slideLayout342.xml"/><Relationship Id="rId49" Type="http://schemas.openxmlformats.org/officeDocument/2006/relationships/slideLayout" Target="../slideLayouts/slideLayout355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4.xml"/><Relationship Id="rId21" Type="http://schemas.openxmlformats.org/officeDocument/2006/relationships/slideLayout" Target="../slideLayouts/slideLayout379.xml"/><Relationship Id="rId42" Type="http://schemas.openxmlformats.org/officeDocument/2006/relationships/slideLayout" Target="../slideLayouts/slideLayout400.xml"/><Relationship Id="rId47" Type="http://schemas.openxmlformats.org/officeDocument/2006/relationships/slideLayout" Target="../slideLayouts/slideLayout405.xml"/><Relationship Id="rId63" Type="http://schemas.openxmlformats.org/officeDocument/2006/relationships/slideLayout" Target="../slideLayouts/slideLayout421.xml"/><Relationship Id="rId68" Type="http://schemas.openxmlformats.org/officeDocument/2006/relationships/slideLayout" Target="../slideLayouts/slideLayout426.xml"/><Relationship Id="rId84" Type="http://schemas.openxmlformats.org/officeDocument/2006/relationships/slideLayout" Target="../slideLayouts/slideLayout442.xml"/><Relationship Id="rId1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69.xml"/><Relationship Id="rId32" Type="http://schemas.openxmlformats.org/officeDocument/2006/relationships/slideLayout" Target="../slideLayouts/slideLayout390.xml"/><Relationship Id="rId37" Type="http://schemas.openxmlformats.org/officeDocument/2006/relationships/slideLayout" Target="../slideLayouts/slideLayout395.xml"/><Relationship Id="rId53" Type="http://schemas.openxmlformats.org/officeDocument/2006/relationships/slideLayout" Target="../slideLayouts/slideLayout411.xml"/><Relationship Id="rId58" Type="http://schemas.openxmlformats.org/officeDocument/2006/relationships/slideLayout" Target="../slideLayouts/slideLayout416.xml"/><Relationship Id="rId74" Type="http://schemas.openxmlformats.org/officeDocument/2006/relationships/slideLayout" Target="../slideLayouts/slideLayout432.xml"/><Relationship Id="rId79" Type="http://schemas.openxmlformats.org/officeDocument/2006/relationships/slideLayout" Target="../slideLayouts/slideLayout437.xml"/><Relationship Id="rId5" Type="http://schemas.openxmlformats.org/officeDocument/2006/relationships/slideLayout" Target="../slideLayouts/slideLayout363.xml"/><Relationship Id="rId19" Type="http://schemas.openxmlformats.org/officeDocument/2006/relationships/slideLayout" Target="../slideLayouts/slideLayout377.xml"/><Relationship Id="rId14" Type="http://schemas.openxmlformats.org/officeDocument/2006/relationships/slideLayout" Target="../slideLayouts/slideLayout372.xml"/><Relationship Id="rId22" Type="http://schemas.openxmlformats.org/officeDocument/2006/relationships/slideLayout" Target="../slideLayouts/slideLayout380.xml"/><Relationship Id="rId27" Type="http://schemas.openxmlformats.org/officeDocument/2006/relationships/slideLayout" Target="../slideLayouts/slideLayout385.xml"/><Relationship Id="rId30" Type="http://schemas.openxmlformats.org/officeDocument/2006/relationships/slideLayout" Target="../slideLayouts/slideLayout388.xml"/><Relationship Id="rId35" Type="http://schemas.openxmlformats.org/officeDocument/2006/relationships/slideLayout" Target="../slideLayouts/slideLayout393.xml"/><Relationship Id="rId43" Type="http://schemas.openxmlformats.org/officeDocument/2006/relationships/slideLayout" Target="../slideLayouts/slideLayout401.xml"/><Relationship Id="rId48" Type="http://schemas.openxmlformats.org/officeDocument/2006/relationships/slideLayout" Target="../slideLayouts/slideLayout406.xml"/><Relationship Id="rId56" Type="http://schemas.openxmlformats.org/officeDocument/2006/relationships/slideLayout" Target="../slideLayouts/slideLayout414.xml"/><Relationship Id="rId64" Type="http://schemas.openxmlformats.org/officeDocument/2006/relationships/slideLayout" Target="../slideLayouts/slideLayout422.xml"/><Relationship Id="rId69" Type="http://schemas.openxmlformats.org/officeDocument/2006/relationships/slideLayout" Target="../slideLayouts/slideLayout427.xml"/><Relationship Id="rId77" Type="http://schemas.openxmlformats.org/officeDocument/2006/relationships/slideLayout" Target="../slideLayouts/slideLayout435.xml"/><Relationship Id="rId8" Type="http://schemas.openxmlformats.org/officeDocument/2006/relationships/slideLayout" Target="../slideLayouts/slideLayout366.xml"/><Relationship Id="rId51" Type="http://schemas.openxmlformats.org/officeDocument/2006/relationships/slideLayout" Target="../slideLayouts/slideLayout409.xml"/><Relationship Id="rId72" Type="http://schemas.openxmlformats.org/officeDocument/2006/relationships/slideLayout" Target="../slideLayouts/slideLayout430.xml"/><Relationship Id="rId80" Type="http://schemas.openxmlformats.org/officeDocument/2006/relationships/slideLayout" Target="../slideLayouts/slideLayout438.xml"/><Relationship Id="rId85" Type="http://schemas.openxmlformats.org/officeDocument/2006/relationships/slideLayout" Target="../slideLayouts/slideLayout443.xml"/><Relationship Id="rId3" Type="http://schemas.openxmlformats.org/officeDocument/2006/relationships/slideLayout" Target="../slideLayouts/slideLayout361.xml"/><Relationship Id="rId12" Type="http://schemas.openxmlformats.org/officeDocument/2006/relationships/slideLayout" Target="../slideLayouts/slideLayout370.xml"/><Relationship Id="rId17" Type="http://schemas.openxmlformats.org/officeDocument/2006/relationships/slideLayout" Target="../slideLayouts/slideLayout375.xml"/><Relationship Id="rId25" Type="http://schemas.openxmlformats.org/officeDocument/2006/relationships/slideLayout" Target="../slideLayouts/slideLayout383.xml"/><Relationship Id="rId33" Type="http://schemas.openxmlformats.org/officeDocument/2006/relationships/slideLayout" Target="../slideLayouts/slideLayout391.xml"/><Relationship Id="rId38" Type="http://schemas.openxmlformats.org/officeDocument/2006/relationships/slideLayout" Target="../slideLayouts/slideLayout396.xml"/><Relationship Id="rId46" Type="http://schemas.openxmlformats.org/officeDocument/2006/relationships/slideLayout" Target="../slideLayouts/slideLayout404.xml"/><Relationship Id="rId59" Type="http://schemas.openxmlformats.org/officeDocument/2006/relationships/slideLayout" Target="../slideLayouts/slideLayout417.xml"/><Relationship Id="rId67" Type="http://schemas.openxmlformats.org/officeDocument/2006/relationships/slideLayout" Target="../slideLayouts/slideLayout425.xml"/><Relationship Id="rId20" Type="http://schemas.openxmlformats.org/officeDocument/2006/relationships/slideLayout" Target="../slideLayouts/slideLayout378.xml"/><Relationship Id="rId41" Type="http://schemas.openxmlformats.org/officeDocument/2006/relationships/slideLayout" Target="../slideLayouts/slideLayout399.xml"/><Relationship Id="rId54" Type="http://schemas.openxmlformats.org/officeDocument/2006/relationships/slideLayout" Target="../slideLayouts/slideLayout412.xml"/><Relationship Id="rId62" Type="http://schemas.openxmlformats.org/officeDocument/2006/relationships/slideLayout" Target="../slideLayouts/slideLayout420.xml"/><Relationship Id="rId70" Type="http://schemas.openxmlformats.org/officeDocument/2006/relationships/slideLayout" Target="../slideLayouts/slideLayout428.xml"/><Relationship Id="rId75" Type="http://schemas.openxmlformats.org/officeDocument/2006/relationships/slideLayout" Target="../slideLayouts/slideLayout433.xml"/><Relationship Id="rId83" Type="http://schemas.openxmlformats.org/officeDocument/2006/relationships/slideLayout" Target="../slideLayouts/slideLayout441.xml"/><Relationship Id="rId88" Type="http://schemas.openxmlformats.org/officeDocument/2006/relationships/theme" Target="../theme/theme8.xml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3.xml"/><Relationship Id="rId23" Type="http://schemas.openxmlformats.org/officeDocument/2006/relationships/slideLayout" Target="../slideLayouts/slideLayout381.xml"/><Relationship Id="rId28" Type="http://schemas.openxmlformats.org/officeDocument/2006/relationships/slideLayout" Target="../slideLayouts/slideLayout386.xml"/><Relationship Id="rId36" Type="http://schemas.openxmlformats.org/officeDocument/2006/relationships/slideLayout" Target="../slideLayouts/slideLayout394.xml"/><Relationship Id="rId49" Type="http://schemas.openxmlformats.org/officeDocument/2006/relationships/slideLayout" Target="../slideLayouts/slideLayout407.xml"/><Relationship Id="rId57" Type="http://schemas.openxmlformats.org/officeDocument/2006/relationships/slideLayout" Target="../slideLayouts/slideLayout415.xml"/><Relationship Id="rId10" Type="http://schemas.openxmlformats.org/officeDocument/2006/relationships/slideLayout" Target="../slideLayouts/slideLayout368.xml"/><Relationship Id="rId31" Type="http://schemas.openxmlformats.org/officeDocument/2006/relationships/slideLayout" Target="../slideLayouts/slideLayout389.xml"/><Relationship Id="rId44" Type="http://schemas.openxmlformats.org/officeDocument/2006/relationships/slideLayout" Target="../slideLayouts/slideLayout402.xml"/><Relationship Id="rId52" Type="http://schemas.openxmlformats.org/officeDocument/2006/relationships/slideLayout" Target="../slideLayouts/slideLayout410.xml"/><Relationship Id="rId60" Type="http://schemas.openxmlformats.org/officeDocument/2006/relationships/slideLayout" Target="../slideLayouts/slideLayout418.xml"/><Relationship Id="rId65" Type="http://schemas.openxmlformats.org/officeDocument/2006/relationships/slideLayout" Target="../slideLayouts/slideLayout423.xml"/><Relationship Id="rId73" Type="http://schemas.openxmlformats.org/officeDocument/2006/relationships/slideLayout" Target="../slideLayouts/slideLayout431.xml"/><Relationship Id="rId78" Type="http://schemas.openxmlformats.org/officeDocument/2006/relationships/slideLayout" Target="../slideLayouts/slideLayout436.xml"/><Relationship Id="rId81" Type="http://schemas.openxmlformats.org/officeDocument/2006/relationships/slideLayout" Target="../slideLayouts/slideLayout439.xml"/><Relationship Id="rId86" Type="http://schemas.openxmlformats.org/officeDocument/2006/relationships/slideLayout" Target="../slideLayouts/slideLayout444.xml"/><Relationship Id="rId4" Type="http://schemas.openxmlformats.org/officeDocument/2006/relationships/slideLayout" Target="../slideLayouts/slideLayout362.xml"/><Relationship Id="rId9" Type="http://schemas.openxmlformats.org/officeDocument/2006/relationships/slideLayout" Target="../slideLayouts/slideLayout367.xml"/><Relationship Id="rId13" Type="http://schemas.openxmlformats.org/officeDocument/2006/relationships/slideLayout" Target="../slideLayouts/slideLayout371.xml"/><Relationship Id="rId18" Type="http://schemas.openxmlformats.org/officeDocument/2006/relationships/slideLayout" Target="../slideLayouts/slideLayout376.xml"/><Relationship Id="rId39" Type="http://schemas.openxmlformats.org/officeDocument/2006/relationships/slideLayout" Target="../slideLayouts/slideLayout397.xml"/><Relationship Id="rId34" Type="http://schemas.openxmlformats.org/officeDocument/2006/relationships/slideLayout" Target="../slideLayouts/slideLayout392.xml"/><Relationship Id="rId50" Type="http://schemas.openxmlformats.org/officeDocument/2006/relationships/slideLayout" Target="../slideLayouts/slideLayout408.xml"/><Relationship Id="rId55" Type="http://schemas.openxmlformats.org/officeDocument/2006/relationships/slideLayout" Target="../slideLayouts/slideLayout413.xml"/><Relationship Id="rId76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365.xml"/><Relationship Id="rId71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360.xml"/><Relationship Id="rId29" Type="http://schemas.openxmlformats.org/officeDocument/2006/relationships/slideLayout" Target="../slideLayouts/slideLayout387.xml"/><Relationship Id="rId24" Type="http://schemas.openxmlformats.org/officeDocument/2006/relationships/slideLayout" Target="../slideLayouts/slideLayout382.xml"/><Relationship Id="rId40" Type="http://schemas.openxmlformats.org/officeDocument/2006/relationships/slideLayout" Target="../slideLayouts/slideLayout398.xml"/><Relationship Id="rId45" Type="http://schemas.openxmlformats.org/officeDocument/2006/relationships/slideLayout" Target="../slideLayouts/slideLayout403.xml"/><Relationship Id="rId66" Type="http://schemas.openxmlformats.org/officeDocument/2006/relationships/slideLayout" Target="../slideLayouts/slideLayout424.xml"/><Relationship Id="rId87" Type="http://schemas.openxmlformats.org/officeDocument/2006/relationships/slideLayout" Target="../slideLayouts/slideLayout445.xml"/><Relationship Id="rId61" Type="http://schemas.openxmlformats.org/officeDocument/2006/relationships/slideLayout" Target="../slideLayouts/slideLayout419.xml"/><Relationship Id="rId82" Type="http://schemas.openxmlformats.org/officeDocument/2006/relationships/slideLayout" Target="../slideLayouts/slideLayout440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71.xml"/><Relationship Id="rId21" Type="http://schemas.openxmlformats.org/officeDocument/2006/relationships/slideLayout" Target="../slideLayouts/slideLayout466.xml"/><Relationship Id="rId42" Type="http://schemas.openxmlformats.org/officeDocument/2006/relationships/slideLayout" Target="../slideLayouts/slideLayout487.xml"/><Relationship Id="rId47" Type="http://schemas.openxmlformats.org/officeDocument/2006/relationships/slideLayout" Target="../slideLayouts/slideLayout492.xml"/><Relationship Id="rId63" Type="http://schemas.openxmlformats.org/officeDocument/2006/relationships/slideLayout" Target="../slideLayouts/slideLayout508.xml"/><Relationship Id="rId68" Type="http://schemas.openxmlformats.org/officeDocument/2006/relationships/slideLayout" Target="../slideLayouts/slideLayout513.xml"/><Relationship Id="rId84" Type="http://schemas.openxmlformats.org/officeDocument/2006/relationships/slideLayout" Target="../slideLayouts/slideLayout529.xml"/><Relationship Id="rId1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56.xml"/><Relationship Id="rId32" Type="http://schemas.openxmlformats.org/officeDocument/2006/relationships/slideLayout" Target="../slideLayouts/slideLayout477.xml"/><Relationship Id="rId37" Type="http://schemas.openxmlformats.org/officeDocument/2006/relationships/slideLayout" Target="../slideLayouts/slideLayout482.xml"/><Relationship Id="rId53" Type="http://schemas.openxmlformats.org/officeDocument/2006/relationships/slideLayout" Target="../slideLayouts/slideLayout498.xml"/><Relationship Id="rId58" Type="http://schemas.openxmlformats.org/officeDocument/2006/relationships/slideLayout" Target="../slideLayouts/slideLayout503.xml"/><Relationship Id="rId74" Type="http://schemas.openxmlformats.org/officeDocument/2006/relationships/slideLayout" Target="../slideLayouts/slideLayout519.xml"/><Relationship Id="rId79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450.xml"/><Relationship Id="rId1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59.xml"/><Relationship Id="rId22" Type="http://schemas.openxmlformats.org/officeDocument/2006/relationships/slideLayout" Target="../slideLayouts/slideLayout467.xml"/><Relationship Id="rId27" Type="http://schemas.openxmlformats.org/officeDocument/2006/relationships/slideLayout" Target="../slideLayouts/slideLayout472.xml"/><Relationship Id="rId30" Type="http://schemas.openxmlformats.org/officeDocument/2006/relationships/slideLayout" Target="../slideLayouts/slideLayout475.xml"/><Relationship Id="rId35" Type="http://schemas.openxmlformats.org/officeDocument/2006/relationships/slideLayout" Target="../slideLayouts/slideLayout480.xml"/><Relationship Id="rId43" Type="http://schemas.openxmlformats.org/officeDocument/2006/relationships/slideLayout" Target="../slideLayouts/slideLayout488.xml"/><Relationship Id="rId48" Type="http://schemas.openxmlformats.org/officeDocument/2006/relationships/slideLayout" Target="../slideLayouts/slideLayout493.xml"/><Relationship Id="rId56" Type="http://schemas.openxmlformats.org/officeDocument/2006/relationships/slideLayout" Target="../slideLayouts/slideLayout501.xml"/><Relationship Id="rId64" Type="http://schemas.openxmlformats.org/officeDocument/2006/relationships/slideLayout" Target="../slideLayouts/slideLayout509.xml"/><Relationship Id="rId69" Type="http://schemas.openxmlformats.org/officeDocument/2006/relationships/slideLayout" Target="../slideLayouts/slideLayout514.xml"/><Relationship Id="rId77" Type="http://schemas.openxmlformats.org/officeDocument/2006/relationships/slideLayout" Target="../slideLayouts/slideLayout522.xml"/><Relationship Id="rId8" Type="http://schemas.openxmlformats.org/officeDocument/2006/relationships/slideLayout" Target="../slideLayouts/slideLayout453.xml"/><Relationship Id="rId51" Type="http://schemas.openxmlformats.org/officeDocument/2006/relationships/slideLayout" Target="../slideLayouts/slideLayout496.xml"/><Relationship Id="rId72" Type="http://schemas.openxmlformats.org/officeDocument/2006/relationships/slideLayout" Target="../slideLayouts/slideLayout517.xml"/><Relationship Id="rId80" Type="http://schemas.openxmlformats.org/officeDocument/2006/relationships/slideLayout" Target="../slideLayouts/slideLayout525.xml"/><Relationship Id="rId85" Type="http://schemas.openxmlformats.org/officeDocument/2006/relationships/slideLayout" Target="../slideLayouts/slideLayout530.xml"/><Relationship Id="rId3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7.xml"/><Relationship Id="rId17" Type="http://schemas.openxmlformats.org/officeDocument/2006/relationships/slideLayout" Target="../slideLayouts/slideLayout462.xml"/><Relationship Id="rId25" Type="http://schemas.openxmlformats.org/officeDocument/2006/relationships/slideLayout" Target="../slideLayouts/slideLayout470.xml"/><Relationship Id="rId33" Type="http://schemas.openxmlformats.org/officeDocument/2006/relationships/slideLayout" Target="../slideLayouts/slideLayout478.xml"/><Relationship Id="rId38" Type="http://schemas.openxmlformats.org/officeDocument/2006/relationships/slideLayout" Target="../slideLayouts/slideLayout483.xml"/><Relationship Id="rId46" Type="http://schemas.openxmlformats.org/officeDocument/2006/relationships/slideLayout" Target="../slideLayouts/slideLayout491.xml"/><Relationship Id="rId59" Type="http://schemas.openxmlformats.org/officeDocument/2006/relationships/slideLayout" Target="../slideLayouts/slideLayout504.xml"/><Relationship Id="rId67" Type="http://schemas.openxmlformats.org/officeDocument/2006/relationships/slideLayout" Target="../slideLayouts/slideLayout512.xml"/><Relationship Id="rId20" Type="http://schemas.openxmlformats.org/officeDocument/2006/relationships/slideLayout" Target="../slideLayouts/slideLayout465.xml"/><Relationship Id="rId41" Type="http://schemas.openxmlformats.org/officeDocument/2006/relationships/slideLayout" Target="../slideLayouts/slideLayout486.xml"/><Relationship Id="rId54" Type="http://schemas.openxmlformats.org/officeDocument/2006/relationships/slideLayout" Target="../slideLayouts/slideLayout499.xml"/><Relationship Id="rId62" Type="http://schemas.openxmlformats.org/officeDocument/2006/relationships/slideLayout" Target="../slideLayouts/slideLayout507.xml"/><Relationship Id="rId70" Type="http://schemas.openxmlformats.org/officeDocument/2006/relationships/slideLayout" Target="../slideLayouts/slideLayout515.xml"/><Relationship Id="rId75" Type="http://schemas.openxmlformats.org/officeDocument/2006/relationships/slideLayout" Target="../slideLayouts/slideLayout520.xml"/><Relationship Id="rId83" Type="http://schemas.openxmlformats.org/officeDocument/2006/relationships/slideLayout" Target="../slideLayouts/slideLayout528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5" Type="http://schemas.openxmlformats.org/officeDocument/2006/relationships/slideLayout" Target="../slideLayouts/slideLayout460.xml"/><Relationship Id="rId23" Type="http://schemas.openxmlformats.org/officeDocument/2006/relationships/slideLayout" Target="../slideLayouts/slideLayout468.xml"/><Relationship Id="rId28" Type="http://schemas.openxmlformats.org/officeDocument/2006/relationships/slideLayout" Target="../slideLayouts/slideLayout473.xml"/><Relationship Id="rId36" Type="http://schemas.openxmlformats.org/officeDocument/2006/relationships/slideLayout" Target="../slideLayouts/slideLayout481.xml"/><Relationship Id="rId49" Type="http://schemas.openxmlformats.org/officeDocument/2006/relationships/slideLayout" Target="../slideLayouts/slideLayout494.xml"/><Relationship Id="rId57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455.xml"/><Relationship Id="rId31" Type="http://schemas.openxmlformats.org/officeDocument/2006/relationships/slideLayout" Target="../slideLayouts/slideLayout476.xml"/><Relationship Id="rId44" Type="http://schemas.openxmlformats.org/officeDocument/2006/relationships/slideLayout" Target="../slideLayouts/slideLayout489.xml"/><Relationship Id="rId52" Type="http://schemas.openxmlformats.org/officeDocument/2006/relationships/slideLayout" Target="../slideLayouts/slideLayout497.xml"/><Relationship Id="rId60" Type="http://schemas.openxmlformats.org/officeDocument/2006/relationships/slideLayout" Target="../slideLayouts/slideLayout505.xml"/><Relationship Id="rId65" Type="http://schemas.openxmlformats.org/officeDocument/2006/relationships/slideLayout" Target="../slideLayouts/slideLayout510.xml"/><Relationship Id="rId73" Type="http://schemas.openxmlformats.org/officeDocument/2006/relationships/slideLayout" Target="../slideLayouts/slideLayout518.xml"/><Relationship Id="rId78" Type="http://schemas.openxmlformats.org/officeDocument/2006/relationships/slideLayout" Target="../slideLayouts/slideLayout523.xml"/><Relationship Id="rId81" Type="http://schemas.openxmlformats.org/officeDocument/2006/relationships/slideLayout" Target="../slideLayouts/slideLayout526.xml"/><Relationship Id="rId86" Type="http://schemas.openxmlformats.org/officeDocument/2006/relationships/slideLayout" Target="../slideLayouts/slideLayout531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Relationship Id="rId13" Type="http://schemas.openxmlformats.org/officeDocument/2006/relationships/slideLayout" Target="../slideLayouts/slideLayout458.xml"/><Relationship Id="rId18" Type="http://schemas.openxmlformats.org/officeDocument/2006/relationships/slideLayout" Target="../slideLayouts/slideLayout463.xml"/><Relationship Id="rId39" Type="http://schemas.openxmlformats.org/officeDocument/2006/relationships/slideLayout" Target="../slideLayouts/slideLayout484.xml"/><Relationship Id="rId34" Type="http://schemas.openxmlformats.org/officeDocument/2006/relationships/slideLayout" Target="../slideLayouts/slideLayout479.xml"/><Relationship Id="rId50" Type="http://schemas.openxmlformats.org/officeDocument/2006/relationships/slideLayout" Target="../slideLayouts/slideLayout495.xml"/><Relationship Id="rId55" Type="http://schemas.openxmlformats.org/officeDocument/2006/relationships/slideLayout" Target="../slideLayouts/slideLayout500.xml"/><Relationship Id="rId76" Type="http://schemas.openxmlformats.org/officeDocument/2006/relationships/slideLayout" Target="../slideLayouts/slideLayout521.xml"/><Relationship Id="rId7" Type="http://schemas.openxmlformats.org/officeDocument/2006/relationships/slideLayout" Target="../slideLayouts/slideLayout452.xml"/><Relationship Id="rId71" Type="http://schemas.openxmlformats.org/officeDocument/2006/relationships/slideLayout" Target="../slideLayouts/slideLayout516.xml"/><Relationship Id="rId2" Type="http://schemas.openxmlformats.org/officeDocument/2006/relationships/slideLayout" Target="../slideLayouts/slideLayout447.xml"/><Relationship Id="rId29" Type="http://schemas.openxmlformats.org/officeDocument/2006/relationships/slideLayout" Target="../slideLayouts/slideLayout474.xml"/><Relationship Id="rId24" Type="http://schemas.openxmlformats.org/officeDocument/2006/relationships/slideLayout" Target="../slideLayouts/slideLayout469.xml"/><Relationship Id="rId40" Type="http://schemas.openxmlformats.org/officeDocument/2006/relationships/slideLayout" Target="../slideLayouts/slideLayout485.xml"/><Relationship Id="rId45" Type="http://schemas.openxmlformats.org/officeDocument/2006/relationships/slideLayout" Target="../slideLayouts/slideLayout490.xml"/><Relationship Id="rId66" Type="http://schemas.openxmlformats.org/officeDocument/2006/relationships/slideLayout" Target="../slideLayouts/slideLayout511.xml"/><Relationship Id="rId87" Type="http://schemas.openxmlformats.org/officeDocument/2006/relationships/theme" Target="../theme/theme9.xml"/><Relationship Id="rId61" Type="http://schemas.openxmlformats.org/officeDocument/2006/relationships/slideLayout" Target="../slideLayouts/slideLayout506.xml"/><Relationship Id="rId82" Type="http://schemas.openxmlformats.org/officeDocument/2006/relationships/slideLayout" Target="../slideLayouts/slideLayout5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701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transition spd="med"/>
  <p:hf hd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088410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  <p:sldLayoutId id="2147484226" r:id="rId11"/>
    <p:sldLayoutId id="2147484227" r:id="rId12"/>
    <p:sldLayoutId id="2147484228" r:id="rId13"/>
    <p:sldLayoutId id="2147484229" r:id="rId14"/>
    <p:sldLayoutId id="2147484230" r:id="rId15"/>
    <p:sldLayoutId id="2147484231" r:id="rId16"/>
    <p:sldLayoutId id="2147484232" r:id="rId17"/>
    <p:sldLayoutId id="2147484233" r:id="rId18"/>
    <p:sldLayoutId id="2147484234" r:id="rId19"/>
    <p:sldLayoutId id="2147484235" r:id="rId20"/>
    <p:sldLayoutId id="2147484236" r:id="rId21"/>
    <p:sldLayoutId id="2147484237" r:id="rId22"/>
    <p:sldLayoutId id="2147484238" r:id="rId23"/>
    <p:sldLayoutId id="2147484239" r:id="rId24"/>
    <p:sldLayoutId id="2147484240" r:id="rId25"/>
    <p:sldLayoutId id="2147484241" r:id="rId26"/>
    <p:sldLayoutId id="2147484242" r:id="rId27"/>
    <p:sldLayoutId id="2147484243" r:id="rId28"/>
    <p:sldLayoutId id="2147484244" r:id="rId29"/>
    <p:sldLayoutId id="2147484245" r:id="rId30"/>
    <p:sldLayoutId id="2147484246" r:id="rId31"/>
    <p:sldLayoutId id="2147484247" r:id="rId32"/>
    <p:sldLayoutId id="2147484248" r:id="rId33"/>
    <p:sldLayoutId id="2147484249" r:id="rId34"/>
    <p:sldLayoutId id="2147484250" r:id="rId35"/>
    <p:sldLayoutId id="2147484251" r:id="rId36"/>
    <p:sldLayoutId id="2147484252" r:id="rId37"/>
    <p:sldLayoutId id="2147484253" r:id="rId38"/>
    <p:sldLayoutId id="2147484254" r:id="rId39"/>
    <p:sldLayoutId id="2147484255" r:id="rId40"/>
    <p:sldLayoutId id="2147484256" r:id="rId41"/>
    <p:sldLayoutId id="2147484257" r:id="rId42"/>
    <p:sldLayoutId id="2147484258" r:id="rId43"/>
    <p:sldLayoutId id="2147484259" r:id="rId44"/>
    <p:sldLayoutId id="2147484260" r:id="rId45"/>
    <p:sldLayoutId id="2147484261" r:id="rId4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© 2023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074742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272" r:id="rId8"/>
    <p:sldLayoutId id="2147484273" r:id="rId9"/>
    <p:sldLayoutId id="2147484274" r:id="rId10"/>
    <p:sldLayoutId id="2147484275" r:id="rId11"/>
    <p:sldLayoutId id="2147484276" r:id="rId12"/>
    <p:sldLayoutId id="2147484277" r:id="rId13"/>
    <p:sldLayoutId id="2147484278" r:id="rId14"/>
    <p:sldLayoutId id="2147484279" r:id="rId15"/>
    <p:sldLayoutId id="2147484280" r:id="rId16"/>
    <p:sldLayoutId id="2147484281" r:id="rId17"/>
    <p:sldLayoutId id="2147484282" r:id="rId18"/>
    <p:sldLayoutId id="2147484283" r:id="rId19"/>
    <p:sldLayoutId id="2147484284" r:id="rId20"/>
    <p:sldLayoutId id="2147484285" r:id="rId21"/>
    <p:sldLayoutId id="2147484286" r:id="rId22"/>
    <p:sldLayoutId id="2147484287" r:id="rId23"/>
    <p:sldLayoutId id="2147484288" r:id="rId24"/>
    <p:sldLayoutId id="2147484289" r:id="rId25"/>
    <p:sldLayoutId id="2147484290" r:id="rId26"/>
    <p:sldLayoutId id="2147484291" r:id="rId27"/>
    <p:sldLayoutId id="2147484292" r:id="rId28"/>
    <p:sldLayoutId id="2147484293" r:id="rId29"/>
    <p:sldLayoutId id="2147484294" r:id="rId30"/>
    <p:sldLayoutId id="2147484295" r:id="rId31"/>
    <p:sldLayoutId id="2147484296" r:id="rId32"/>
    <p:sldLayoutId id="2147484297" r:id="rId33"/>
    <p:sldLayoutId id="2147484298" r:id="rId34"/>
    <p:sldLayoutId id="2147484299" r:id="rId35"/>
    <p:sldLayoutId id="2147484300" r:id="rId36"/>
    <p:sldLayoutId id="2147484301" r:id="rId37"/>
    <p:sldLayoutId id="2147484302" r:id="rId38"/>
    <p:sldLayoutId id="2147484303" r:id="rId39"/>
    <p:sldLayoutId id="2147484304" r:id="rId40"/>
    <p:sldLayoutId id="2147484305" r:id="rId41"/>
    <p:sldLayoutId id="2147484306" r:id="rId4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2" y="6400804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4" y="6400804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6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0482251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  <p:sldLayoutId id="2147484370" r:id="rId13"/>
    <p:sldLayoutId id="2147484371" r:id="rId14"/>
    <p:sldLayoutId id="2147484372" r:id="rId15"/>
    <p:sldLayoutId id="2147484373" r:id="rId16"/>
    <p:sldLayoutId id="2147484374" r:id="rId17"/>
    <p:sldLayoutId id="2147484375" r:id="rId18"/>
    <p:sldLayoutId id="2147484376" r:id="rId19"/>
    <p:sldLayoutId id="2147484377" r:id="rId20"/>
    <p:sldLayoutId id="2147484378" r:id="rId21"/>
    <p:sldLayoutId id="2147484379" r:id="rId22"/>
    <p:sldLayoutId id="2147484380" r:id="rId23"/>
    <p:sldLayoutId id="2147484381" r:id="rId24"/>
    <p:sldLayoutId id="2147484382" r:id="rId25"/>
    <p:sldLayoutId id="2147484383" r:id="rId26"/>
    <p:sldLayoutId id="2147484384" r:id="rId27"/>
    <p:sldLayoutId id="2147484385" r:id="rId28"/>
    <p:sldLayoutId id="2147484386" r:id="rId29"/>
    <p:sldLayoutId id="2147484387" r:id="rId30"/>
    <p:sldLayoutId id="2147484388" r:id="rId31"/>
    <p:sldLayoutId id="2147484389" r:id="rId32"/>
    <p:sldLayoutId id="2147484390" r:id="rId33"/>
    <p:sldLayoutId id="2147484391" r:id="rId34"/>
    <p:sldLayoutId id="2147484392" r:id="rId35"/>
    <p:sldLayoutId id="2147484393" r:id="rId36"/>
    <p:sldLayoutId id="2147484394" r:id="rId37"/>
    <p:sldLayoutId id="2147484395" r:id="rId38"/>
    <p:sldLayoutId id="2147484396" r:id="rId39"/>
    <p:sldLayoutId id="2147484397" r:id="rId40"/>
    <p:sldLayoutId id="2147484398" r:id="rId41"/>
    <p:sldLayoutId id="2147484399" r:id="rId42"/>
    <p:sldLayoutId id="2147484400" r:id="rId43"/>
    <p:sldLayoutId id="2147484401" r:id="rId44"/>
    <p:sldLayoutId id="2147484402" r:id="rId45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48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49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4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499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14" indent="-173697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827" indent="-173697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517" indent="-173697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104" indent="-173697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364" indent="-12964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5854" indent="-12964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340" indent="-12964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0830" indent="-12964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486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4976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462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49950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438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4924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412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899900" algn="l" defTabSz="724976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8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Software / © 2023 IBM Corporation /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110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  <p:sldLayoutId id="2147485176" r:id="rId11"/>
    <p:sldLayoutId id="2147485177" r:id="rId12"/>
    <p:sldLayoutId id="2147485178" r:id="rId13"/>
    <p:sldLayoutId id="2147485179" r:id="rId14"/>
    <p:sldLayoutId id="2147485180" r:id="rId15"/>
    <p:sldLayoutId id="2147485181" r:id="rId16"/>
    <p:sldLayoutId id="2147485182" r:id="rId17"/>
    <p:sldLayoutId id="2147485183" r:id="rId18"/>
    <p:sldLayoutId id="2147485184" r:id="rId19"/>
    <p:sldLayoutId id="2147485185" r:id="rId20"/>
    <p:sldLayoutId id="2147485186" r:id="rId21"/>
    <p:sldLayoutId id="2147485187" r:id="rId22"/>
    <p:sldLayoutId id="2147485188" r:id="rId23"/>
    <p:sldLayoutId id="2147485189" r:id="rId24"/>
    <p:sldLayoutId id="2147485190" r:id="rId25"/>
    <p:sldLayoutId id="2147485191" r:id="rId26"/>
    <p:sldLayoutId id="2147485192" r:id="rId27"/>
    <p:sldLayoutId id="2147485193" r:id="rId28"/>
    <p:sldLayoutId id="2147485194" r:id="rId29"/>
    <p:sldLayoutId id="2147485195" r:id="rId30"/>
    <p:sldLayoutId id="2147485196" r:id="rId31"/>
    <p:sldLayoutId id="2147485197" r:id="rId32"/>
    <p:sldLayoutId id="2147485198" r:id="rId33"/>
    <p:sldLayoutId id="2147485199" r:id="rId34"/>
    <p:sldLayoutId id="2147485200" r:id="rId35"/>
    <p:sldLayoutId id="2147485201" r:id="rId36"/>
    <p:sldLayoutId id="2147485202" r:id="rId37"/>
    <p:sldLayoutId id="2147485203" r:id="rId38"/>
    <p:sldLayoutId id="2147485204" r:id="rId39"/>
    <p:sldLayoutId id="2147485205" r:id="rId40"/>
    <p:sldLayoutId id="2147485206" r:id="rId41"/>
    <p:sldLayoutId id="2147485207" r:id="rId42"/>
    <p:sldLayoutId id="2147485208" r:id="rId43"/>
    <p:sldLayoutId id="2147485209" r:id="rId44"/>
    <p:sldLayoutId id="2147485210" r:id="rId45"/>
    <p:sldLayoutId id="2147485211" r:id="rId46"/>
    <p:sldLayoutId id="2147485212" r:id="rId47"/>
  </p:sldLayoutIdLst>
  <p:transition spd="med"/>
  <p:hf hdr="0" dt="0"/>
  <p:txStyles>
    <p:titleStyle>
      <a:lvl1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12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2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63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848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26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052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578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272" marR="0" indent="-228508" algn="l" defTabSz="1218712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162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374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586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4798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2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853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281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708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136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562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19999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41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3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0494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214" r:id="rId1"/>
    <p:sldLayoutId id="2147485215" r:id="rId2"/>
    <p:sldLayoutId id="2147485216" r:id="rId3"/>
    <p:sldLayoutId id="2147485217" r:id="rId4"/>
    <p:sldLayoutId id="2147485218" r:id="rId5"/>
    <p:sldLayoutId id="2147485219" r:id="rId6"/>
    <p:sldLayoutId id="2147485220" r:id="rId7"/>
    <p:sldLayoutId id="2147485221" r:id="rId8"/>
    <p:sldLayoutId id="2147485222" r:id="rId9"/>
    <p:sldLayoutId id="2147485223" r:id="rId10"/>
    <p:sldLayoutId id="2147485224" r:id="rId11"/>
    <p:sldLayoutId id="2147485225" r:id="rId12"/>
    <p:sldLayoutId id="2147485226" r:id="rId13"/>
    <p:sldLayoutId id="2147485227" r:id="rId14"/>
    <p:sldLayoutId id="2147485228" r:id="rId15"/>
    <p:sldLayoutId id="2147485229" r:id="rId16"/>
    <p:sldLayoutId id="2147485230" r:id="rId17"/>
    <p:sldLayoutId id="2147485231" r:id="rId18"/>
    <p:sldLayoutId id="2147485232" r:id="rId19"/>
    <p:sldLayoutId id="2147485233" r:id="rId20"/>
    <p:sldLayoutId id="2147485234" r:id="rId21"/>
    <p:sldLayoutId id="2147485235" r:id="rId22"/>
    <p:sldLayoutId id="2147485236" r:id="rId23"/>
    <p:sldLayoutId id="2147485237" r:id="rId24"/>
    <p:sldLayoutId id="2147485238" r:id="rId25"/>
    <p:sldLayoutId id="2147485239" r:id="rId26"/>
    <p:sldLayoutId id="2147485240" r:id="rId27"/>
    <p:sldLayoutId id="2147485241" r:id="rId28"/>
    <p:sldLayoutId id="2147485242" r:id="rId29"/>
    <p:sldLayoutId id="2147485243" r:id="rId30"/>
    <p:sldLayoutId id="2147485244" r:id="rId31"/>
    <p:sldLayoutId id="2147485245" r:id="rId32"/>
    <p:sldLayoutId id="2147485246" r:id="rId33"/>
    <p:sldLayoutId id="2147485247" r:id="rId34"/>
    <p:sldLayoutId id="2147485248" r:id="rId35"/>
    <p:sldLayoutId id="2147485249" r:id="rId36"/>
    <p:sldLayoutId id="2147485250" r:id="rId37"/>
    <p:sldLayoutId id="2147485251" r:id="rId38"/>
    <p:sldLayoutId id="2147485252" r:id="rId39"/>
    <p:sldLayoutId id="2147485253" r:id="rId40"/>
    <p:sldLayoutId id="2147485254" r:id="rId41"/>
    <p:sldLayoutId id="2147485255" r:id="rId42"/>
    <p:sldLayoutId id="2147485256" r:id="rId43"/>
    <p:sldLayoutId id="2147485257" r:id="rId44"/>
    <p:sldLayoutId id="2147485258" r:id="rId4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9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5pPr>
      <a:lvl6pPr marL="48326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6pPr>
      <a:lvl7pPr marL="9665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7pPr>
      <a:lvl8pPr marL="14498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8pPr>
      <a:lvl9pPr marL="19330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9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6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6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28" indent="-231573" algn="l" rtl="0" eaLnBrk="1" fontAlgn="base" hangingPunct="1">
        <a:lnSpc>
          <a:spcPct val="100000"/>
        </a:lnSpc>
        <a:spcBef>
          <a:spcPts val="1466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6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058" indent="-231573" algn="l" rtl="0" eaLnBrk="1" fontAlgn="base" hangingPunct="1">
        <a:lnSpc>
          <a:spcPct val="100000"/>
        </a:lnSpc>
        <a:spcBef>
          <a:spcPts val="1466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6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7938" indent="-231573" algn="l" rtl="0" eaLnBrk="1" fontAlgn="base" hangingPunct="1">
        <a:lnSpc>
          <a:spcPct val="100000"/>
        </a:lnSpc>
        <a:spcBef>
          <a:spcPts val="1466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6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699" indent="-231573" algn="l" rtl="0" eaLnBrk="1" fontAlgn="base" hangingPunct="1">
        <a:lnSpc>
          <a:spcPct val="100000"/>
        </a:lnSpc>
        <a:spcBef>
          <a:spcPts val="1466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6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0942" indent="-1728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IBM Plex Sans Light" charset="0"/>
        </a:defRPr>
      </a:lvl6pPr>
      <a:lvl7pPr marL="2594211" indent="-1728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IBM Plex Sans Light" charset="0"/>
        </a:defRPr>
      </a:lvl7pPr>
      <a:lvl8pPr marL="3077479" indent="-1728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IBM Plex Sans Light" charset="0"/>
        </a:defRPr>
      </a:lvl8pPr>
      <a:lvl9pPr marL="3560749" indent="-1728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3267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6538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9805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3073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6342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9609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2878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6146" algn="l" defTabSz="966538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  <a:endParaRPr lang="en-CA" dirty="0"/>
          </a:p>
          <a:p>
            <a:pPr lvl="2"/>
            <a:r>
              <a:rPr lang="en-CA" dirty="0"/>
              <a:t>Body Level Three</a:t>
            </a:r>
          </a:p>
          <a:p>
            <a:pPr lvl="3"/>
            <a:r>
              <a:rPr lang="en-CA"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9634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276" r:id="rId1"/>
    <p:sldLayoutId id="2147485277" r:id="rId2"/>
    <p:sldLayoutId id="2147485278" r:id="rId3"/>
    <p:sldLayoutId id="2147485279" r:id="rId4"/>
    <p:sldLayoutId id="2147485280" r:id="rId5"/>
    <p:sldLayoutId id="2147485281" r:id="rId6"/>
    <p:sldLayoutId id="2147485282" r:id="rId7"/>
    <p:sldLayoutId id="2147485283" r:id="rId8"/>
    <p:sldLayoutId id="2147485284" r:id="rId9"/>
    <p:sldLayoutId id="2147485285" r:id="rId10"/>
    <p:sldLayoutId id="2147485286" r:id="rId11"/>
    <p:sldLayoutId id="2147485287" r:id="rId12"/>
    <p:sldLayoutId id="2147485288" r:id="rId13"/>
    <p:sldLayoutId id="2147485289" r:id="rId14"/>
    <p:sldLayoutId id="2147485290" r:id="rId15"/>
    <p:sldLayoutId id="2147485291" r:id="rId16"/>
    <p:sldLayoutId id="2147485292" r:id="rId17"/>
    <p:sldLayoutId id="2147485293" r:id="rId18"/>
    <p:sldLayoutId id="2147485294" r:id="rId19"/>
    <p:sldLayoutId id="2147485295" r:id="rId20"/>
    <p:sldLayoutId id="2147485296" r:id="rId21"/>
    <p:sldLayoutId id="2147485297" r:id="rId22"/>
    <p:sldLayoutId id="2147485298" r:id="rId23"/>
    <p:sldLayoutId id="2147485299" r:id="rId24"/>
    <p:sldLayoutId id="2147485300" r:id="rId25"/>
    <p:sldLayoutId id="2147485301" r:id="rId26"/>
    <p:sldLayoutId id="2147485302" r:id="rId27"/>
    <p:sldLayoutId id="2147485303" r:id="rId28"/>
    <p:sldLayoutId id="2147485304" r:id="rId29"/>
    <p:sldLayoutId id="2147485305" r:id="rId30"/>
    <p:sldLayoutId id="2147485306" r:id="rId31"/>
    <p:sldLayoutId id="2147485307" r:id="rId32"/>
    <p:sldLayoutId id="2147485308" r:id="rId33"/>
    <p:sldLayoutId id="2147485309" r:id="rId34"/>
    <p:sldLayoutId id="2147485310" r:id="rId35"/>
    <p:sldLayoutId id="2147485311" r:id="rId36"/>
    <p:sldLayoutId id="2147485312" r:id="rId37"/>
    <p:sldLayoutId id="2147485313" r:id="rId38"/>
    <p:sldLayoutId id="2147485314" r:id="rId39"/>
    <p:sldLayoutId id="2147485315" r:id="rId40"/>
    <p:sldLayoutId id="2147485316" r:id="rId41"/>
    <p:sldLayoutId id="2147485317" r:id="rId42"/>
    <p:sldLayoutId id="2147485318" r:id="rId43"/>
    <p:sldLayoutId id="2147485319" r:id="rId44"/>
    <p:sldLayoutId id="2147485320" r:id="rId45"/>
    <p:sldLayoutId id="2147485321" r:id="rId46"/>
    <p:sldLayoutId id="2147486008" r:id="rId47"/>
    <p:sldLayoutId id="2147486009" r:id="rId48"/>
    <p:sldLayoutId id="2147486010" r:id="rId49"/>
    <p:sldLayoutId id="2147486011" r:id="rId50"/>
    <p:sldLayoutId id="2147486012" r:id="rId51"/>
  </p:sldLayoutIdLst>
  <p:transition spd="med"/>
  <p:hf sldNum="0" hdr="0" ftr="0" dt="0"/>
  <p:txStyles>
    <p:titleStyle>
      <a:lvl1pPr marL="0" marR="0" indent="0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163767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2pPr>
      <a:lvl3pPr marL="329334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3pPr>
      <a:lvl4pPr marL="493101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4pPr>
      <a:lvl5pPr marL="342831" marR="0" indent="0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  <a:endParaRPr lang="en-CA" dirty="0"/>
          </a:p>
          <a:p>
            <a:pPr lvl="2"/>
            <a:r>
              <a:rPr lang="en-CA" dirty="0"/>
              <a:t>Body Level Three</a:t>
            </a:r>
          </a:p>
          <a:p>
            <a:pPr lvl="3"/>
            <a:r>
              <a:rPr lang="en-CA"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0175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  <p:sldLayoutId id="2147485334" r:id="rId11"/>
    <p:sldLayoutId id="2147485335" r:id="rId12"/>
    <p:sldLayoutId id="2147485336" r:id="rId13"/>
    <p:sldLayoutId id="2147485337" r:id="rId14"/>
    <p:sldLayoutId id="2147485338" r:id="rId15"/>
    <p:sldLayoutId id="2147485339" r:id="rId16"/>
    <p:sldLayoutId id="2147485340" r:id="rId17"/>
    <p:sldLayoutId id="2147485341" r:id="rId18"/>
    <p:sldLayoutId id="2147485342" r:id="rId19"/>
    <p:sldLayoutId id="2147485343" r:id="rId20"/>
    <p:sldLayoutId id="2147485344" r:id="rId21"/>
    <p:sldLayoutId id="2147485345" r:id="rId22"/>
    <p:sldLayoutId id="2147485346" r:id="rId23"/>
    <p:sldLayoutId id="2147485347" r:id="rId24"/>
    <p:sldLayoutId id="2147485348" r:id="rId25"/>
    <p:sldLayoutId id="2147485349" r:id="rId26"/>
    <p:sldLayoutId id="2147485350" r:id="rId27"/>
    <p:sldLayoutId id="2147485351" r:id="rId28"/>
    <p:sldLayoutId id="2147485352" r:id="rId29"/>
    <p:sldLayoutId id="2147485353" r:id="rId30"/>
    <p:sldLayoutId id="2147485354" r:id="rId31"/>
    <p:sldLayoutId id="2147485355" r:id="rId32"/>
    <p:sldLayoutId id="2147485356" r:id="rId33"/>
    <p:sldLayoutId id="2147485357" r:id="rId34"/>
    <p:sldLayoutId id="2147485358" r:id="rId35"/>
    <p:sldLayoutId id="2147485359" r:id="rId36"/>
    <p:sldLayoutId id="2147485360" r:id="rId37"/>
    <p:sldLayoutId id="2147485361" r:id="rId38"/>
    <p:sldLayoutId id="2147485362" r:id="rId39"/>
    <p:sldLayoutId id="2147485363" r:id="rId40"/>
    <p:sldLayoutId id="2147485364" r:id="rId41"/>
    <p:sldLayoutId id="2147485365" r:id="rId42"/>
    <p:sldLayoutId id="2147485366" r:id="rId43"/>
    <p:sldLayoutId id="2147485367" r:id="rId44"/>
    <p:sldLayoutId id="2147485368" r:id="rId45"/>
    <p:sldLayoutId id="2147485369" r:id="rId46"/>
    <p:sldLayoutId id="2147485962" r:id="rId47"/>
  </p:sldLayoutIdLst>
  <p:transition spd="med"/>
  <p:hf sldNum="0" hdr="0" ftr="0" dt="0"/>
  <p:txStyles>
    <p:titleStyle>
      <a:lvl1pPr marL="0" marR="0" indent="0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163767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2pPr>
      <a:lvl3pPr marL="329334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3pPr>
      <a:lvl4pPr marL="493101" marR="0" indent="-163767" algn="l" defTabSz="121895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4pPr>
      <a:lvl5pPr marL="342831" marR="0" indent="0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5037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300" y="2746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00200"/>
            <a:ext cx="11293592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381751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SKO1 / Copyright © 2024 IBM</a:t>
            </a:r>
          </a:p>
        </p:txBody>
      </p:sp>
    </p:spTree>
    <p:extLst>
      <p:ext uri="{BB962C8B-B14F-4D97-AF65-F5344CB8AC3E}">
        <p14:creationId xmlns:p14="http://schemas.microsoft.com/office/powerpoint/2010/main" val="23436833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371" r:id="rId1"/>
    <p:sldLayoutId id="2147485372" r:id="rId2"/>
    <p:sldLayoutId id="2147485373" r:id="rId3"/>
    <p:sldLayoutId id="2147485374" r:id="rId4"/>
    <p:sldLayoutId id="2147485375" r:id="rId5"/>
    <p:sldLayoutId id="2147485376" r:id="rId6"/>
    <p:sldLayoutId id="2147485377" r:id="rId7"/>
    <p:sldLayoutId id="2147485378" r:id="rId8"/>
    <p:sldLayoutId id="2147485379" r:id="rId9"/>
    <p:sldLayoutId id="2147485380" r:id="rId10"/>
    <p:sldLayoutId id="2147485381" r:id="rId11"/>
    <p:sldLayoutId id="2147485382" r:id="rId12"/>
    <p:sldLayoutId id="2147485383" r:id="rId13"/>
    <p:sldLayoutId id="2147485384" r:id="rId14"/>
    <p:sldLayoutId id="2147485385" r:id="rId15"/>
    <p:sldLayoutId id="2147485386" r:id="rId16"/>
    <p:sldLayoutId id="2147485387" r:id="rId17"/>
    <p:sldLayoutId id="2147485388" r:id="rId18"/>
    <p:sldLayoutId id="2147485389" r:id="rId19"/>
    <p:sldLayoutId id="2147485390" r:id="rId20"/>
    <p:sldLayoutId id="2147485391" r:id="rId21"/>
    <p:sldLayoutId id="2147485392" r:id="rId22"/>
    <p:sldLayoutId id="2147485393" r:id="rId23"/>
    <p:sldLayoutId id="2147485394" r:id="rId24"/>
    <p:sldLayoutId id="2147485395" r:id="rId25"/>
    <p:sldLayoutId id="2147485396" r:id="rId26"/>
    <p:sldLayoutId id="2147485397" r:id="rId27"/>
    <p:sldLayoutId id="2147485398" r:id="rId28"/>
    <p:sldLayoutId id="2147485399" r:id="rId29"/>
    <p:sldLayoutId id="2147485400" r:id="rId30"/>
    <p:sldLayoutId id="2147485401" r:id="rId31"/>
    <p:sldLayoutId id="2147485402" r:id="rId32"/>
    <p:sldLayoutId id="2147485403" r:id="rId33"/>
    <p:sldLayoutId id="2147485404" r:id="rId34"/>
    <p:sldLayoutId id="2147485405" r:id="rId35"/>
    <p:sldLayoutId id="2147485406" r:id="rId36"/>
    <p:sldLayoutId id="2147485407" r:id="rId37"/>
    <p:sldLayoutId id="2147485408" r:id="rId38"/>
    <p:sldLayoutId id="2147485409" r:id="rId39"/>
    <p:sldLayoutId id="2147485410" r:id="rId40"/>
    <p:sldLayoutId id="2147485411" r:id="rId41"/>
    <p:sldLayoutId id="2147485412" r:id="rId42"/>
    <p:sldLayoutId id="2147485413" r:id="rId43"/>
    <p:sldLayoutId id="2147485414" r:id="rId44"/>
    <p:sldLayoutId id="2147485415" r:id="rId45"/>
    <p:sldLayoutId id="2147485416" r:id="rId46"/>
    <p:sldLayoutId id="2147485417" r:id="rId47"/>
    <p:sldLayoutId id="2147485418" r:id="rId48"/>
    <p:sldLayoutId id="2147485419" r:id="rId49"/>
  </p:sldLayoutIdLst>
  <p:transition spd="med"/>
  <p:hf hdr="0" dt="0"/>
  <p:txStyles>
    <p:titleStyle>
      <a:lvl1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79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56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84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5121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88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76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764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486" marR="0" indent="-228594" algn="l" defTabSz="1219170" rtl="0" eaLnBrk="1" latinLnBrk="0" hangingPunct="1">
        <a:lnSpc>
          <a:spcPct val="110000"/>
        </a:lnSpc>
        <a:spcBef>
          <a:spcPts val="1451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50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78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406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347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9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8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474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966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457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949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44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93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58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5000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78">
          <p15:clr>
            <a:srgbClr val="EE5396"/>
          </p15:clr>
        </p15:guide>
        <p15:guide id="21" orient="horz" pos="38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60">
          <p15:clr>
            <a:srgbClr val="EE5396"/>
          </p15:clr>
        </p15:guide>
        <p15:guide id="25" orient="horz" pos="8280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69507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44195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57438"/>
            <a:ext cx="11293592" cy="43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668161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  <p:sldLayoutId id="2147485425" r:id="rId5"/>
    <p:sldLayoutId id="2147485426" r:id="rId6"/>
    <p:sldLayoutId id="2147485427" r:id="rId7"/>
    <p:sldLayoutId id="2147485428" r:id="rId8"/>
    <p:sldLayoutId id="2147485429" r:id="rId9"/>
    <p:sldLayoutId id="2147485430" r:id="rId10"/>
    <p:sldLayoutId id="2147485431" r:id="rId11"/>
    <p:sldLayoutId id="2147485432" r:id="rId12"/>
    <p:sldLayoutId id="2147485433" r:id="rId13"/>
    <p:sldLayoutId id="2147485434" r:id="rId14"/>
    <p:sldLayoutId id="2147485435" r:id="rId15"/>
    <p:sldLayoutId id="2147485436" r:id="rId16"/>
    <p:sldLayoutId id="2147485437" r:id="rId17"/>
    <p:sldLayoutId id="2147485438" r:id="rId18"/>
    <p:sldLayoutId id="2147485439" r:id="rId19"/>
    <p:sldLayoutId id="2147485440" r:id="rId20"/>
    <p:sldLayoutId id="2147485441" r:id="rId21"/>
    <p:sldLayoutId id="2147485442" r:id="rId22"/>
    <p:sldLayoutId id="2147485443" r:id="rId23"/>
    <p:sldLayoutId id="2147485444" r:id="rId24"/>
    <p:sldLayoutId id="2147485445" r:id="rId25"/>
    <p:sldLayoutId id="2147485446" r:id="rId26"/>
    <p:sldLayoutId id="2147485447" r:id="rId27"/>
    <p:sldLayoutId id="2147485448" r:id="rId28"/>
    <p:sldLayoutId id="2147485449" r:id="rId29"/>
    <p:sldLayoutId id="2147485450" r:id="rId30"/>
    <p:sldLayoutId id="2147485451" r:id="rId31"/>
    <p:sldLayoutId id="2147485452" r:id="rId32"/>
    <p:sldLayoutId id="2147485453" r:id="rId33"/>
    <p:sldLayoutId id="2147485454" r:id="rId34"/>
    <p:sldLayoutId id="2147485455" r:id="rId35"/>
    <p:sldLayoutId id="2147485456" r:id="rId36"/>
    <p:sldLayoutId id="2147485457" r:id="rId37"/>
    <p:sldLayoutId id="2147485458" r:id="rId38"/>
    <p:sldLayoutId id="2147485459" r:id="rId39"/>
    <p:sldLayoutId id="2147485460" r:id="rId40"/>
    <p:sldLayoutId id="2147485461" r:id="rId41"/>
    <p:sldLayoutId id="2147485462" r:id="rId42"/>
    <p:sldLayoutId id="2147485463" r:id="rId43"/>
    <p:sldLayoutId id="2147485464" r:id="rId44"/>
    <p:sldLayoutId id="2147485465" r:id="rId45"/>
    <p:sldLayoutId id="2147485466" r:id="rId46"/>
    <p:sldLayoutId id="2147485467" r:id="rId47"/>
    <p:sldLayoutId id="2147485468" r:id="rId48"/>
    <p:sldLayoutId id="2147485469" r:id="rId49"/>
    <p:sldLayoutId id="2147485470" r:id="rId50"/>
    <p:sldLayoutId id="2147485471" r:id="rId51"/>
    <p:sldLayoutId id="2147485472" r:id="rId52"/>
    <p:sldLayoutId id="2147485473" r:id="rId53"/>
    <p:sldLayoutId id="2147485474" r:id="rId54"/>
    <p:sldLayoutId id="2147485475" r:id="rId55"/>
    <p:sldLayoutId id="2147485476" r:id="rId56"/>
    <p:sldLayoutId id="2147485477" r:id="rId57"/>
    <p:sldLayoutId id="2147485478" r:id="rId58"/>
    <p:sldLayoutId id="2147485479" r:id="rId59"/>
    <p:sldLayoutId id="2147485480" r:id="rId60"/>
    <p:sldLayoutId id="2147485481" r:id="rId61"/>
    <p:sldLayoutId id="2147485482" r:id="rId62"/>
    <p:sldLayoutId id="2147485483" r:id="rId63"/>
    <p:sldLayoutId id="2147485484" r:id="rId64"/>
    <p:sldLayoutId id="2147485485" r:id="rId65"/>
    <p:sldLayoutId id="2147485486" r:id="rId66"/>
    <p:sldLayoutId id="2147485487" r:id="rId67"/>
    <p:sldLayoutId id="2147485488" r:id="rId68"/>
    <p:sldLayoutId id="2147485489" r:id="rId69"/>
    <p:sldLayoutId id="2147485490" r:id="rId70"/>
    <p:sldLayoutId id="2147485491" r:id="rId71"/>
    <p:sldLayoutId id="2147485492" r:id="rId72"/>
    <p:sldLayoutId id="2147485493" r:id="rId73"/>
    <p:sldLayoutId id="2147485494" r:id="rId74"/>
    <p:sldLayoutId id="2147485495" r:id="rId75"/>
    <p:sldLayoutId id="2147485496" r:id="rId76"/>
    <p:sldLayoutId id="2147485497" r:id="rId77"/>
    <p:sldLayoutId id="2147485498" r:id="rId78"/>
    <p:sldLayoutId id="2147485499" r:id="rId79"/>
    <p:sldLayoutId id="2147485500" r:id="rId80"/>
    <p:sldLayoutId id="2147485501" r:id="rId81"/>
    <p:sldLayoutId id="2147485502" r:id="rId82"/>
    <p:sldLayoutId id="2147485503" r:id="rId83"/>
    <p:sldLayoutId id="2147485504" r:id="rId84"/>
    <p:sldLayoutId id="2147485505" r:id="rId85"/>
    <p:sldLayoutId id="2147485506" r:id="rId86"/>
    <p:sldLayoutId id="2147485507" r:id="rId8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79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56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84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5121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88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76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764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486" marR="0" indent="-228594" algn="l" defTabSz="1219170" rtl="0" eaLnBrk="1" latinLnBrk="0" hangingPunct="1">
        <a:lnSpc>
          <a:spcPct val="110000"/>
        </a:lnSpc>
        <a:spcBef>
          <a:spcPts val="1451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50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78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406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347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9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8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474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966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457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949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44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93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56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725F1-C37C-6006-1A6E-AD04AB554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565994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95" imgH="396" progId="TCLayout.ActiveDocument.1">
                  <p:embed/>
                </p:oleObj>
              </mc:Choice>
              <mc:Fallback>
                <p:oleObj name="think-cell Slide" r:id="rId62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2725F1-C37C-6006-1A6E-AD04AB55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1" y="6469510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1"/>
            <a:ext cx="11293592" cy="43346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7" y="6402119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4177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509" r:id="rId1"/>
    <p:sldLayoutId id="2147485510" r:id="rId2"/>
    <p:sldLayoutId id="2147485511" r:id="rId3"/>
    <p:sldLayoutId id="2147485512" r:id="rId4"/>
    <p:sldLayoutId id="2147485513" r:id="rId5"/>
    <p:sldLayoutId id="2147485514" r:id="rId6"/>
    <p:sldLayoutId id="2147485515" r:id="rId7"/>
    <p:sldLayoutId id="2147485516" r:id="rId8"/>
    <p:sldLayoutId id="2147485517" r:id="rId9"/>
    <p:sldLayoutId id="2147485518" r:id="rId10"/>
    <p:sldLayoutId id="2147485519" r:id="rId11"/>
    <p:sldLayoutId id="2147485520" r:id="rId12"/>
    <p:sldLayoutId id="2147485521" r:id="rId13"/>
    <p:sldLayoutId id="2147485522" r:id="rId14"/>
    <p:sldLayoutId id="2147485523" r:id="rId15"/>
    <p:sldLayoutId id="2147485524" r:id="rId16"/>
    <p:sldLayoutId id="2147485525" r:id="rId17"/>
    <p:sldLayoutId id="2147485526" r:id="rId18"/>
    <p:sldLayoutId id="2147485527" r:id="rId19"/>
    <p:sldLayoutId id="2147485528" r:id="rId20"/>
    <p:sldLayoutId id="2147485529" r:id="rId21"/>
    <p:sldLayoutId id="2147485530" r:id="rId22"/>
    <p:sldLayoutId id="2147485531" r:id="rId23"/>
    <p:sldLayoutId id="2147485532" r:id="rId24"/>
    <p:sldLayoutId id="2147485533" r:id="rId25"/>
    <p:sldLayoutId id="2147485534" r:id="rId26"/>
    <p:sldLayoutId id="2147485535" r:id="rId27"/>
    <p:sldLayoutId id="2147485536" r:id="rId28"/>
    <p:sldLayoutId id="2147485537" r:id="rId29"/>
    <p:sldLayoutId id="2147485538" r:id="rId30"/>
    <p:sldLayoutId id="2147485539" r:id="rId31"/>
    <p:sldLayoutId id="2147485540" r:id="rId32"/>
    <p:sldLayoutId id="2147485541" r:id="rId33"/>
    <p:sldLayoutId id="2147485542" r:id="rId34"/>
    <p:sldLayoutId id="2147485543" r:id="rId35"/>
    <p:sldLayoutId id="2147485544" r:id="rId36"/>
    <p:sldLayoutId id="2147485545" r:id="rId37"/>
    <p:sldLayoutId id="2147485546" r:id="rId38"/>
    <p:sldLayoutId id="2147485547" r:id="rId39"/>
    <p:sldLayoutId id="2147485548" r:id="rId40"/>
    <p:sldLayoutId id="2147485549" r:id="rId41"/>
    <p:sldLayoutId id="2147485550" r:id="rId42"/>
    <p:sldLayoutId id="2147485551" r:id="rId43"/>
    <p:sldLayoutId id="2147485552" r:id="rId44"/>
    <p:sldLayoutId id="2147485553" r:id="rId45"/>
    <p:sldLayoutId id="2147485554" r:id="rId46"/>
    <p:sldLayoutId id="2147485555" r:id="rId47"/>
    <p:sldLayoutId id="2147485556" r:id="rId48"/>
    <p:sldLayoutId id="2147485557" r:id="rId49"/>
    <p:sldLayoutId id="2147485558" r:id="rId50"/>
    <p:sldLayoutId id="2147485559" r:id="rId51"/>
    <p:sldLayoutId id="2147485560" r:id="rId52"/>
    <p:sldLayoutId id="2147485561" r:id="rId53"/>
    <p:sldLayoutId id="2147485562" r:id="rId54"/>
    <p:sldLayoutId id="2147485563" r:id="rId55"/>
    <p:sldLayoutId id="2147485564" r:id="rId56"/>
    <p:sldLayoutId id="2147485566" r:id="rId57"/>
    <p:sldLayoutId id="2147485567" r:id="rId58"/>
    <p:sldLayoutId id="2147485568" r:id="rId59"/>
  </p:sldLayoutIdLst>
  <p:transition spd="med"/>
  <p:hf hdr="0" dt="0"/>
  <p:txStyles>
    <p:titleStyle>
      <a:lvl1pPr marL="0" marR="0" indent="0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6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2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37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85" algn="l" defTabSz="121894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4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7" marR="0" indent="-164557" algn="l" defTabSz="121894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4" marR="0" indent="-164557" algn="l" defTabSz="121894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0" marR="0" indent="-164557" algn="l" defTabSz="121894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79" marR="0" indent="-228552" algn="l" defTabSz="1218940" rtl="0" eaLnBrk="1" latinLnBrk="0" hangingPunct="1">
        <a:lnSpc>
          <a:spcPct val="110000"/>
        </a:lnSpc>
        <a:spcBef>
          <a:spcPts val="1451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36" marR="0" indent="-194463" algn="l" defTabSz="121894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82" marR="0" indent="-194463" algn="l" defTabSz="121894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27" marR="0" indent="-194463" algn="l" defTabSz="121894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73" marR="0" indent="-194463" algn="l" defTabSz="121894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0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18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78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38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297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57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15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74" algn="r" defTabSz="9144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0F62FE"/>
          </p15:clr>
        </p15:guide>
        <p15:guide id="3" pos="136">
          <p15:clr>
            <a:srgbClr val="EE5396"/>
          </p15:clr>
        </p15:guide>
        <p15:guide id="4" pos="1440">
          <p15:clr>
            <a:srgbClr val="0F62FE"/>
          </p15:clr>
        </p15:guide>
        <p15:guide id="5" pos="718">
          <p15:clr>
            <a:srgbClr val="EE5396"/>
          </p15:clr>
        </p15:guide>
        <p15:guide id="6" pos="2158">
          <p15:clr>
            <a:srgbClr val="EE5396"/>
          </p15:clr>
        </p15:guide>
        <p15:guide id="7" pos="2744">
          <p15:clr>
            <a:srgbClr val="EE5396"/>
          </p15:clr>
        </p15:guide>
        <p15:guide id="8" pos="3015">
          <p15:clr>
            <a:srgbClr val="EE5396"/>
          </p15:clr>
        </p15:guide>
        <p15:guide id="9" pos="1575">
          <p15:clr>
            <a:srgbClr val="EE5396"/>
          </p15:clr>
        </p15:guide>
        <p15:guide id="10" pos="1305">
          <p15:clr>
            <a:srgbClr val="EE5396"/>
          </p15:clr>
        </p15:guide>
        <p15:guide id="11" pos="3597">
          <p15:clr>
            <a:srgbClr val="EE5396"/>
          </p15:clr>
        </p15:guide>
        <p15:guide id="13" pos="4184">
          <p15:clr>
            <a:srgbClr val="EE5396"/>
          </p15:clr>
        </p15:guide>
        <p15:guide id="14" pos="4454">
          <p15:clr>
            <a:srgbClr val="EE5396"/>
          </p15:clr>
        </p15:guide>
        <p15:guide id="15" pos="5039">
          <p15:clr>
            <a:srgbClr val="EE5396"/>
          </p15:clr>
        </p15:guide>
        <p15:guide id="16" pos="5622">
          <p15:clr>
            <a:srgbClr val="EE5396"/>
          </p15:clr>
        </p15:guide>
        <p15:guide id="17" orient="horz" pos="810">
          <p15:clr>
            <a:srgbClr val="0F62FE"/>
          </p15:clr>
        </p15:guide>
        <p15:guide id="19" orient="horz" pos="1215">
          <p15:clr>
            <a:srgbClr val="EE5396"/>
          </p15:clr>
        </p15:guide>
        <p15:guide id="20" orient="horz" pos="405">
          <p15:clr>
            <a:srgbClr val="EE5396"/>
          </p15:clr>
        </p15:guide>
        <p15:guide id="21" orient="horz" pos="137">
          <p15:clr>
            <a:srgbClr val="EE5396"/>
          </p15:clr>
        </p15:guide>
        <p15:guide id="22" orient="horz" pos="2025">
          <p15:clr>
            <a:srgbClr val="EE5396"/>
          </p15:clr>
        </p15:guide>
        <p15:guide id="24" orient="horz" pos="2834">
          <p15:clr>
            <a:srgbClr val="EE5396"/>
          </p15:clr>
        </p15:guide>
        <p15:guide id="25" orient="horz" pos="3102">
          <p15:clr>
            <a:srgbClr val="EE5396"/>
          </p15:clr>
        </p15:guide>
        <p15:guide id="26" pos="2880">
          <p15:clr>
            <a:srgbClr val="0F62FE"/>
          </p15:clr>
        </p15:guide>
        <p15:guide id="27" pos="4319">
          <p15:clr>
            <a:srgbClr val="0F62FE"/>
          </p15:clr>
        </p15:guide>
        <p15:guide id="28" orient="horz" pos="2430">
          <p15:clr>
            <a:srgbClr val="0F62FE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3775282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5350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  <p:sldLayoutId id="2147483748" r:id="rId31"/>
    <p:sldLayoutId id="2147483749" r:id="rId32"/>
    <p:sldLayoutId id="2147483750" r:id="rId33"/>
    <p:sldLayoutId id="2147483751" r:id="rId34"/>
    <p:sldLayoutId id="2147483752" r:id="rId35"/>
    <p:sldLayoutId id="2147483753" r:id="rId36"/>
    <p:sldLayoutId id="2147483754" r:id="rId37"/>
    <p:sldLayoutId id="2147483755" r:id="rId38"/>
    <p:sldLayoutId id="2147483756" r:id="rId39"/>
    <p:sldLayoutId id="2147483757" r:id="rId40"/>
    <p:sldLayoutId id="2147483758" r:id="rId41"/>
    <p:sldLayoutId id="2147483759" r:id="rId42"/>
    <p:sldLayoutId id="2147483760" r:id="rId43"/>
    <p:sldLayoutId id="2147483761" r:id="rId44"/>
    <p:sldLayoutId id="2147483762" r:id="rId45"/>
    <p:sldLayoutId id="2147483763" r:id="rId46"/>
  </p:sldLayoutIdLst>
  <p:transition spd="med"/>
  <p:hf sldNum="0" hdr="0" ft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69507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Data and AI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567414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570" r:id="rId1"/>
    <p:sldLayoutId id="2147485571" r:id="rId2"/>
    <p:sldLayoutId id="2147485572" r:id="rId3"/>
    <p:sldLayoutId id="2147485573" r:id="rId4"/>
    <p:sldLayoutId id="2147485574" r:id="rId5"/>
    <p:sldLayoutId id="2147485575" r:id="rId6"/>
    <p:sldLayoutId id="2147485576" r:id="rId7"/>
    <p:sldLayoutId id="2147485577" r:id="rId8"/>
    <p:sldLayoutId id="2147485578" r:id="rId9"/>
    <p:sldLayoutId id="2147485579" r:id="rId10"/>
    <p:sldLayoutId id="2147485580" r:id="rId11"/>
    <p:sldLayoutId id="2147485581" r:id="rId12"/>
    <p:sldLayoutId id="2147485582" r:id="rId13"/>
    <p:sldLayoutId id="2147485583" r:id="rId14"/>
    <p:sldLayoutId id="2147485584" r:id="rId15"/>
    <p:sldLayoutId id="2147485585" r:id="rId16"/>
    <p:sldLayoutId id="2147485586" r:id="rId17"/>
    <p:sldLayoutId id="2147485587" r:id="rId18"/>
    <p:sldLayoutId id="2147485588" r:id="rId19"/>
    <p:sldLayoutId id="2147485589" r:id="rId20"/>
    <p:sldLayoutId id="2147485590" r:id="rId21"/>
    <p:sldLayoutId id="2147485591" r:id="rId22"/>
    <p:sldLayoutId id="2147485592" r:id="rId23"/>
    <p:sldLayoutId id="2147485593" r:id="rId24"/>
    <p:sldLayoutId id="2147485594" r:id="rId25"/>
    <p:sldLayoutId id="2147485595" r:id="rId26"/>
    <p:sldLayoutId id="2147485596" r:id="rId27"/>
    <p:sldLayoutId id="2147485597" r:id="rId28"/>
    <p:sldLayoutId id="2147485598" r:id="rId29"/>
    <p:sldLayoutId id="2147485599" r:id="rId30"/>
    <p:sldLayoutId id="2147485600" r:id="rId31"/>
    <p:sldLayoutId id="2147485601" r:id="rId32"/>
    <p:sldLayoutId id="2147485602" r:id="rId33"/>
    <p:sldLayoutId id="2147485603" r:id="rId34"/>
    <p:sldLayoutId id="2147485604" r:id="rId35"/>
    <p:sldLayoutId id="2147485605" r:id="rId36"/>
    <p:sldLayoutId id="2147485606" r:id="rId37"/>
    <p:sldLayoutId id="2147485607" r:id="rId38"/>
    <p:sldLayoutId id="2147485608" r:id="rId39"/>
    <p:sldLayoutId id="2147485609" r:id="rId40"/>
    <p:sldLayoutId id="2147485610" r:id="rId41"/>
    <p:sldLayoutId id="2147485611" r:id="rId42"/>
    <p:sldLayoutId id="2147485612" r:id="rId43"/>
    <p:sldLayoutId id="2147485613" r:id="rId44"/>
    <p:sldLayoutId id="2147485614" r:id="rId45"/>
    <p:sldLayoutId id="2147485615" r:id="rId46"/>
    <p:sldLayoutId id="2147485616" r:id="rId47"/>
  </p:sldLayoutIdLst>
  <p:transition spd="med"/>
  <p:hf hdr="0" dt="0"/>
  <p:txStyles>
    <p:titleStyle>
      <a:lvl1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79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56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84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5121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88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76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764" marR="0" indent="-164588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486" marR="0" indent="-228594" algn="l" defTabSz="1219170" rtl="0" eaLnBrk="1" latinLnBrk="0" hangingPunct="1">
        <a:lnSpc>
          <a:spcPct val="110000"/>
        </a:lnSpc>
        <a:spcBef>
          <a:spcPts val="1451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50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78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406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347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9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8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474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966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457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949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44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93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5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  <a:endParaRPr lang="en-CA" dirty="0"/>
          </a:p>
          <a:p>
            <a:pPr lvl="2"/>
            <a:r>
              <a:rPr lang="en-CA" dirty="0"/>
              <a:t>Body Level Three</a:t>
            </a:r>
          </a:p>
          <a:p>
            <a:pPr lvl="3"/>
            <a:r>
              <a:rPr lang="en-CA"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3438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664" r:id="rId1"/>
    <p:sldLayoutId id="2147485665" r:id="rId2"/>
    <p:sldLayoutId id="2147485666" r:id="rId3"/>
    <p:sldLayoutId id="2147485667" r:id="rId4"/>
    <p:sldLayoutId id="2147485668" r:id="rId5"/>
    <p:sldLayoutId id="2147485669" r:id="rId6"/>
    <p:sldLayoutId id="2147485670" r:id="rId7"/>
    <p:sldLayoutId id="2147485671" r:id="rId8"/>
    <p:sldLayoutId id="2147485672" r:id="rId9"/>
    <p:sldLayoutId id="2147485673" r:id="rId10"/>
    <p:sldLayoutId id="2147485674" r:id="rId11"/>
    <p:sldLayoutId id="2147485675" r:id="rId12"/>
    <p:sldLayoutId id="2147485676" r:id="rId13"/>
    <p:sldLayoutId id="2147485677" r:id="rId14"/>
    <p:sldLayoutId id="2147485678" r:id="rId15"/>
    <p:sldLayoutId id="2147485679" r:id="rId16"/>
    <p:sldLayoutId id="2147485680" r:id="rId17"/>
    <p:sldLayoutId id="2147485681" r:id="rId18"/>
    <p:sldLayoutId id="2147485682" r:id="rId19"/>
    <p:sldLayoutId id="2147485683" r:id="rId20"/>
    <p:sldLayoutId id="2147485684" r:id="rId21"/>
    <p:sldLayoutId id="2147485685" r:id="rId22"/>
    <p:sldLayoutId id="2147485686" r:id="rId23"/>
    <p:sldLayoutId id="2147485687" r:id="rId24"/>
    <p:sldLayoutId id="2147485688" r:id="rId25"/>
    <p:sldLayoutId id="2147485689" r:id="rId26"/>
    <p:sldLayoutId id="2147485690" r:id="rId27"/>
    <p:sldLayoutId id="2147485691" r:id="rId28"/>
    <p:sldLayoutId id="2147485692" r:id="rId29"/>
    <p:sldLayoutId id="2147485693" r:id="rId30"/>
    <p:sldLayoutId id="2147485694" r:id="rId31"/>
    <p:sldLayoutId id="2147485695" r:id="rId32"/>
    <p:sldLayoutId id="2147485696" r:id="rId33"/>
    <p:sldLayoutId id="2147485697" r:id="rId34"/>
    <p:sldLayoutId id="2147485698" r:id="rId35"/>
    <p:sldLayoutId id="2147485699" r:id="rId36"/>
    <p:sldLayoutId id="2147485700" r:id="rId37"/>
    <p:sldLayoutId id="2147485701" r:id="rId38"/>
    <p:sldLayoutId id="2147485702" r:id="rId39"/>
    <p:sldLayoutId id="2147485703" r:id="rId40"/>
    <p:sldLayoutId id="2147485704" r:id="rId41"/>
    <p:sldLayoutId id="2147485705" r:id="rId42"/>
    <p:sldLayoutId id="2147485706" r:id="rId43"/>
    <p:sldLayoutId id="2147485707" r:id="rId44"/>
    <p:sldLayoutId id="2147485708" r:id="rId45"/>
    <p:sldLayoutId id="2147485709" r:id="rId46"/>
  </p:sldLayoutIdLst>
  <p:transition spd="med"/>
  <p:hf sldNum="0" hdr="0" ftr="0" dt="0"/>
  <p:txStyles>
    <p:titleStyle>
      <a:lvl1pPr marL="0" marR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chemeClr val="tx2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79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56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840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5121" algn="l" defTabSz="121917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163796" marR="0" indent="-163796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2pPr>
      <a:lvl3pPr marL="329392" marR="0" indent="-163796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3pPr>
      <a:lvl4pPr marL="493188" marR="0" indent="-163796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4pPr>
      <a:lvl5pPr marL="342891" marR="0" indent="0" algn="l" defTabSz="1219170" rtl="0" eaLnBrk="1" latinLnBrk="0" hangingPunct="1">
        <a:lnSpc>
          <a:spcPct val="110000"/>
        </a:lnSpc>
        <a:spcBef>
          <a:spcPts val="1451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50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78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4068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347" marR="0" indent="-194499" algn="l" defTabSz="1219170" rtl="0" eaLnBrk="1" latinLnBrk="0" hangingPunct="1">
        <a:lnSpc>
          <a:spcPct val="100000"/>
        </a:lnSpc>
        <a:spcBef>
          <a:spcPts val="1451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9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82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474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966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457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949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44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931" algn="r" defTabSz="91462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9610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713" r:id="rId1"/>
    <p:sldLayoutId id="2147485714" r:id="rId2"/>
    <p:sldLayoutId id="2147485715" r:id="rId3"/>
    <p:sldLayoutId id="2147485716" r:id="rId4"/>
    <p:sldLayoutId id="2147485717" r:id="rId5"/>
    <p:sldLayoutId id="2147485718" r:id="rId6"/>
    <p:sldLayoutId id="2147485719" r:id="rId7"/>
    <p:sldLayoutId id="2147485720" r:id="rId8"/>
    <p:sldLayoutId id="2147485721" r:id="rId9"/>
    <p:sldLayoutId id="2147485722" r:id="rId10"/>
    <p:sldLayoutId id="2147485723" r:id="rId11"/>
    <p:sldLayoutId id="2147485724" r:id="rId12"/>
    <p:sldLayoutId id="2147485725" r:id="rId13"/>
    <p:sldLayoutId id="2147485726" r:id="rId14"/>
    <p:sldLayoutId id="2147485727" r:id="rId15"/>
    <p:sldLayoutId id="2147485728" r:id="rId16"/>
    <p:sldLayoutId id="2147485729" r:id="rId17"/>
    <p:sldLayoutId id="2147485730" r:id="rId18"/>
    <p:sldLayoutId id="2147485731" r:id="rId19"/>
    <p:sldLayoutId id="2147485732" r:id="rId20"/>
    <p:sldLayoutId id="2147485733" r:id="rId21"/>
    <p:sldLayoutId id="2147485734" r:id="rId22"/>
    <p:sldLayoutId id="2147485735" r:id="rId23"/>
    <p:sldLayoutId id="2147485736" r:id="rId24"/>
    <p:sldLayoutId id="2147485737" r:id="rId25"/>
    <p:sldLayoutId id="2147485738" r:id="rId26"/>
    <p:sldLayoutId id="2147485739" r:id="rId27"/>
    <p:sldLayoutId id="2147485740" r:id="rId28"/>
    <p:sldLayoutId id="2147485741" r:id="rId29"/>
    <p:sldLayoutId id="2147485742" r:id="rId30"/>
    <p:sldLayoutId id="2147485743" r:id="rId31"/>
    <p:sldLayoutId id="2147485744" r:id="rId32"/>
    <p:sldLayoutId id="2147485745" r:id="rId33"/>
    <p:sldLayoutId id="2147485746" r:id="rId34"/>
    <p:sldLayoutId id="2147485747" r:id="rId35"/>
    <p:sldLayoutId id="2147485748" r:id="rId36"/>
    <p:sldLayoutId id="2147485749" r:id="rId37"/>
    <p:sldLayoutId id="2147485750" r:id="rId38"/>
    <p:sldLayoutId id="2147485751" r:id="rId39"/>
    <p:sldLayoutId id="2147485752" r:id="rId40"/>
    <p:sldLayoutId id="2147485753" r:id="rId41"/>
    <p:sldLayoutId id="2147485754" r:id="rId42"/>
    <p:sldLayoutId id="2147485755" r:id="rId43"/>
    <p:sldLayoutId id="2147485756" r:id="rId44"/>
    <p:sldLayoutId id="2147485757" r:id="rId45"/>
    <p:sldLayoutId id="2147485758" r:id="rId46"/>
    <p:sldLayoutId id="2147485759" r:id="rId47"/>
    <p:sldLayoutId id="2147485760" r:id="rId48"/>
    <p:sldLayoutId id="2147485761" r:id="rId49"/>
    <p:sldLayoutId id="2147485762" r:id="rId50"/>
  </p:sldLayoutIdLst>
  <p:transition spd="med"/>
  <p:hf hdr="0" ft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06656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765" r:id="rId1"/>
    <p:sldLayoutId id="2147485766" r:id="rId2"/>
    <p:sldLayoutId id="2147485767" r:id="rId3"/>
    <p:sldLayoutId id="2147485768" r:id="rId4"/>
    <p:sldLayoutId id="2147485769" r:id="rId5"/>
    <p:sldLayoutId id="2147485770" r:id="rId6"/>
    <p:sldLayoutId id="2147485771" r:id="rId7"/>
    <p:sldLayoutId id="2147485772" r:id="rId8"/>
    <p:sldLayoutId id="2147485773" r:id="rId9"/>
    <p:sldLayoutId id="2147485774" r:id="rId10"/>
    <p:sldLayoutId id="2147485775" r:id="rId11"/>
    <p:sldLayoutId id="2147485776" r:id="rId12"/>
    <p:sldLayoutId id="2147485777" r:id="rId13"/>
    <p:sldLayoutId id="2147485778" r:id="rId14"/>
    <p:sldLayoutId id="2147485779" r:id="rId15"/>
    <p:sldLayoutId id="2147485780" r:id="rId16"/>
    <p:sldLayoutId id="2147485781" r:id="rId17"/>
    <p:sldLayoutId id="2147485782" r:id="rId18"/>
    <p:sldLayoutId id="2147485783" r:id="rId19"/>
    <p:sldLayoutId id="2147485784" r:id="rId20"/>
    <p:sldLayoutId id="2147485785" r:id="rId21"/>
    <p:sldLayoutId id="2147485786" r:id="rId22"/>
    <p:sldLayoutId id="2147485787" r:id="rId23"/>
    <p:sldLayoutId id="2147485788" r:id="rId24"/>
    <p:sldLayoutId id="2147485789" r:id="rId25"/>
    <p:sldLayoutId id="2147485790" r:id="rId26"/>
    <p:sldLayoutId id="2147485791" r:id="rId27"/>
    <p:sldLayoutId id="2147485792" r:id="rId28"/>
    <p:sldLayoutId id="2147485793" r:id="rId29"/>
    <p:sldLayoutId id="2147485794" r:id="rId30"/>
    <p:sldLayoutId id="2147485795" r:id="rId31"/>
    <p:sldLayoutId id="2147485796" r:id="rId32"/>
    <p:sldLayoutId id="2147485797" r:id="rId33"/>
    <p:sldLayoutId id="2147485798" r:id="rId34"/>
    <p:sldLayoutId id="2147485799" r:id="rId35"/>
    <p:sldLayoutId id="2147485800" r:id="rId36"/>
    <p:sldLayoutId id="2147485801" r:id="rId37"/>
    <p:sldLayoutId id="2147485802" r:id="rId38"/>
    <p:sldLayoutId id="2147485803" r:id="rId39"/>
    <p:sldLayoutId id="2147485804" r:id="rId40"/>
    <p:sldLayoutId id="2147485805" r:id="rId41"/>
    <p:sldLayoutId id="2147485806" r:id="rId42"/>
    <p:sldLayoutId id="2147485807" r:id="rId43"/>
    <p:sldLayoutId id="2147485808" r:id="rId44"/>
    <p:sldLayoutId id="2147485809" r:id="rId45"/>
    <p:sldLayoutId id="2147485810" r:id="rId46"/>
    <p:sldLayoutId id="2147485811" r:id="rId47"/>
    <p:sldLayoutId id="2147485812" r:id="rId48"/>
  </p:sldLayoutIdLst>
  <p:transition spd="med"/>
  <p:hf sldNum="0" hd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928077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819" r:id="rId1"/>
    <p:sldLayoutId id="2147485820" r:id="rId2"/>
    <p:sldLayoutId id="2147485821" r:id="rId3"/>
    <p:sldLayoutId id="2147485822" r:id="rId4"/>
    <p:sldLayoutId id="2147485823" r:id="rId5"/>
    <p:sldLayoutId id="2147485824" r:id="rId6"/>
    <p:sldLayoutId id="2147485825" r:id="rId7"/>
    <p:sldLayoutId id="2147485826" r:id="rId8"/>
    <p:sldLayoutId id="2147485827" r:id="rId9"/>
    <p:sldLayoutId id="2147485828" r:id="rId10"/>
    <p:sldLayoutId id="2147485829" r:id="rId11"/>
    <p:sldLayoutId id="2147485830" r:id="rId12"/>
    <p:sldLayoutId id="2147485831" r:id="rId13"/>
    <p:sldLayoutId id="2147485832" r:id="rId14"/>
    <p:sldLayoutId id="2147485833" r:id="rId15"/>
    <p:sldLayoutId id="2147485834" r:id="rId16"/>
    <p:sldLayoutId id="2147485835" r:id="rId17"/>
    <p:sldLayoutId id="2147485836" r:id="rId18"/>
    <p:sldLayoutId id="2147485837" r:id="rId19"/>
    <p:sldLayoutId id="2147485838" r:id="rId20"/>
    <p:sldLayoutId id="2147485839" r:id="rId21"/>
    <p:sldLayoutId id="2147485840" r:id="rId22"/>
    <p:sldLayoutId id="2147485841" r:id="rId23"/>
    <p:sldLayoutId id="2147485842" r:id="rId24"/>
    <p:sldLayoutId id="2147485843" r:id="rId25"/>
    <p:sldLayoutId id="2147485844" r:id="rId26"/>
    <p:sldLayoutId id="2147485845" r:id="rId27"/>
    <p:sldLayoutId id="2147485846" r:id="rId28"/>
    <p:sldLayoutId id="2147485847" r:id="rId29"/>
    <p:sldLayoutId id="2147485848" r:id="rId30"/>
    <p:sldLayoutId id="2147485849" r:id="rId31"/>
    <p:sldLayoutId id="2147485850" r:id="rId32"/>
    <p:sldLayoutId id="2147485851" r:id="rId33"/>
    <p:sldLayoutId id="2147485852" r:id="rId34"/>
    <p:sldLayoutId id="2147485853" r:id="rId35"/>
    <p:sldLayoutId id="2147485854" r:id="rId36"/>
    <p:sldLayoutId id="2147485855" r:id="rId37"/>
    <p:sldLayoutId id="2147485856" r:id="rId38"/>
    <p:sldLayoutId id="2147485857" r:id="rId39"/>
    <p:sldLayoutId id="2147485858" r:id="rId40"/>
    <p:sldLayoutId id="2147485859" r:id="rId41"/>
    <p:sldLayoutId id="2147485860" r:id="rId42"/>
    <p:sldLayoutId id="2147485861" r:id="rId43"/>
    <p:sldLayoutId id="2147485862" r:id="rId44"/>
    <p:sldLayoutId id="2147485863" r:id="rId45"/>
    <p:sldLayoutId id="2147485864" r:id="rId4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400802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3C3E9F-9B4B-1685-4CAA-AE6EBAA29BD2}"/>
              </a:ext>
            </a:extLst>
          </p:cNvPr>
          <p:cNvSpPr txBox="1">
            <a:spLocks/>
          </p:cNvSpPr>
          <p:nvPr userDrawn="1"/>
        </p:nvSpPr>
        <p:spPr>
          <a:xfrm>
            <a:off x="5373267" y="6400804"/>
            <a:ext cx="1445468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/>
              <a:t>IBM CONFIDENTIA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464799F9-1354-C088-47F2-3DC4AD8021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Consulting / March 30, 2022 / © 2023 IBM Corporation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B4A29660-A3DC-8767-CA69-AAE8D97545C4}"/>
              </a:ext>
            </a:extLst>
          </p:cNvPr>
          <p:cNvSpPr txBox="1">
            <a:spLocks/>
          </p:cNvSpPr>
          <p:nvPr userDrawn="1"/>
        </p:nvSpPr>
        <p:spPr>
          <a:xfrm>
            <a:off x="304891" y="6400802"/>
            <a:ext cx="347372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IBM Consulting / March 30, 2023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364208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866" r:id="rId1"/>
    <p:sldLayoutId id="2147485867" r:id="rId2"/>
    <p:sldLayoutId id="2147485868" r:id="rId3"/>
    <p:sldLayoutId id="2147485869" r:id="rId4"/>
    <p:sldLayoutId id="2147485870" r:id="rId5"/>
    <p:sldLayoutId id="2147485871" r:id="rId6"/>
    <p:sldLayoutId id="2147485872" r:id="rId7"/>
    <p:sldLayoutId id="2147485873" r:id="rId8"/>
    <p:sldLayoutId id="2147485874" r:id="rId9"/>
    <p:sldLayoutId id="2147485875" r:id="rId10"/>
    <p:sldLayoutId id="2147485876" r:id="rId11"/>
    <p:sldLayoutId id="2147485877" r:id="rId12"/>
    <p:sldLayoutId id="2147485878" r:id="rId13"/>
    <p:sldLayoutId id="2147485879" r:id="rId14"/>
    <p:sldLayoutId id="2147485880" r:id="rId15"/>
    <p:sldLayoutId id="2147485881" r:id="rId16"/>
    <p:sldLayoutId id="2147485882" r:id="rId17"/>
    <p:sldLayoutId id="2147485883" r:id="rId18"/>
    <p:sldLayoutId id="2147485884" r:id="rId19"/>
    <p:sldLayoutId id="2147485885" r:id="rId20"/>
    <p:sldLayoutId id="2147485886" r:id="rId21"/>
    <p:sldLayoutId id="2147485887" r:id="rId22"/>
    <p:sldLayoutId id="2147485888" r:id="rId23"/>
    <p:sldLayoutId id="2147485889" r:id="rId24"/>
    <p:sldLayoutId id="2147485890" r:id="rId25"/>
    <p:sldLayoutId id="2147485891" r:id="rId26"/>
    <p:sldLayoutId id="2147485892" r:id="rId27"/>
    <p:sldLayoutId id="2147485893" r:id="rId28"/>
    <p:sldLayoutId id="2147485894" r:id="rId29"/>
    <p:sldLayoutId id="2147485895" r:id="rId30"/>
    <p:sldLayoutId id="2147485896" r:id="rId31"/>
    <p:sldLayoutId id="2147485897" r:id="rId32"/>
    <p:sldLayoutId id="2147485898" r:id="rId33"/>
    <p:sldLayoutId id="2147485899" r:id="rId34"/>
    <p:sldLayoutId id="2147485900" r:id="rId35"/>
    <p:sldLayoutId id="2147485901" r:id="rId36"/>
    <p:sldLayoutId id="2147485902" r:id="rId37"/>
    <p:sldLayoutId id="2147485903" r:id="rId38"/>
    <p:sldLayoutId id="2147485904" r:id="rId39"/>
    <p:sldLayoutId id="2147485905" r:id="rId40"/>
    <p:sldLayoutId id="2147485906" r:id="rId41"/>
    <p:sldLayoutId id="2147485907" r:id="rId42"/>
    <p:sldLayoutId id="2147485908" r:id="rId43"/>
    <p:sldLayoutId id="2147485909" r:id="rId44"/>
    <p:sldLayoutId id="2147485910" r:id="rId45"/>
    <p:sldLayoutId id="2147485911" r:id="rId46"/>
    <p:sldLayoutId id="2147485912" r:id="rId47"/>
    <p:sldLayoutId id="2147485913" r:id="rId4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2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8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70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099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22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30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05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08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06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09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1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4860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915" r:id="rId1"/>
    <p:sldLayoutId id="2147485916" r:id="rId2"/>
    <p:sldLayoutId id="2147485917" r:id="rId3"/>
    <p:sldLayoutId id="2147485918" r:id="rId4"/>
    <p:sldLayoutId id="2147485919" r:id="rId5"/>
    <p:sldLayoutId id="2147485920" r:id="rId6"/>
    <p:sldLayoutId id="2147485921" r:id="rId7"/>
    <p:sldLayoutId id="2147485922" r:id="rId8"/>
    <p:sldLayoutId id="2147485923" r:id="rId9"/>
    <p:sldLayoutId id="2147485924" r:id="rId10"/>
    <p:sldLayoutId id="2147485925" r:id="rId11"/>
    <p:sldLayoutId id="2147485926" r:id="rId12"/>
    <p:sldLayoutId id="2147485927" r:id="rId13"/>
    <p:sldLayoutId id="2147485928" r:id="rId14"/>
    <p:sldLayoutId id="2147485929" r:id="rId15"/>
    <p:sldLayoutId id="2147485930" r:id="rId16"/>
    <p:sldLayoutId id="2147485931" r:id="rId17"/>
    <p:sldLayoutId id="2147485932" r:id="rId18"/>
    <p:sldLayoutId id="2147485933" r:id="rId19"/>
    <p:sldLayoutId id="2147485934" r:id="rId20"/>
    <p:sldLayoutId id="2147485935" r:id="rId21"/>
    <p:sldLayoutId id="2147485936" r:id="rId22"/>
    <p:sldLayoutId id="2147485937" r:id="rId23"/>
    <p:sldLayoutId id="2147485938" r:id="rId24"/>
    <p:sldLayoutId id="2147485939" r:id="rId25"/>
    <p:sldLayoutId id="2147485940" r:id="rId26"/>
    <p:sldLayoutId id="2147485941" r:id="rId27"/>
    <p:sldLayoutId id="2147485942" r:id="rId28"/>
    <p:sldLayoutId id="2147485943" r:id="rId29"/>
    <p:sldLayoutId id="2147485944" r:id="rId30"/>
    <p:sldLayoutId id="2147485945" r:id="rId31"/>
    <p:sldLayoutId id="2147485946" r:id="rId32"/>
    <p:sldLayoutId id="2147485947" r:id="rId33"/>
    <p:sldLayoutId id="2147485948" r:id="rId34"/>
    <p:sldLayoutId id="2147485949" r:id="rId35"/>
    <p:sldLayoutId id="2147485950" r:id="rId36"/>
    <p:sldLayoutId id="2147485951" r:id="rId37"/>
    <p:sldLayoutId id="2147485952" r:id="rId38"/>
    <p:sldLayoutId id="2147485953" r:id="rId39"/>
    <p:sldLayoutId id="2147485954" r:id="rId40"/>
    <p:sldLayoutId id="2147485955" r:id="rId41"/>
    <p:sldLayoutId id="2147485956" r:id="rId42"/>
    <p:sldLayoutId id="2147485957" r:id="rId43"/>
    <p:sldLayoutId id="2147485958" r:id="rId44"/>
    <p:sldLayoutId id="2147485959" r:id="rId45"/>
    <p:sldLayoutId id="2147485960" r:id="rId46"/>
    <p:sldLayoutId id="2147485961" r:id="rId47"/>
  </p:sldLayoutIdLst>
  <p:transition spd="med"/>
  <p:hf hd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462" y="6452314"/>
            <a:ext cx="136789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800">
                <a:solidFill>
                  <a:srgbClr val="000000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Title Text</a:t>
            </a:r>
          </a:p>
        </p:txBody>
      </p:sp>
      <p:sp>
        <p:nvSpPr>
          <p:cNvPr id="4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615318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964" r:id="rId1"/>
    <p:sldLayoutId id="2147485965" r:id="rId2"/>
    <p:sldLayoutId id="2147485966" r:id="rId3"/>
    <p:sldLayoutId id="2147485967" r:id="rId4"/>
    <p:sldLayoutId id="2147485968" r:id="rId5"/>
    <p:sldLayoutId id="2147485969" r:id="rId6"/>
    <p:sldLayoutId id="2147485970" r:id="rId7"/>
    <p:sldLayoutId id="2147485971" r:id="rId8"/>
    <p:sldLayoutId id="2147485972" r:id="rId9"/>
    <p:sldLayoutId id="2147485973" r:id="rId10"/>
    <p:sldLayoutId id="2147485974" r:id="rId11"/>
    <p:sldLayoutId id="2147485975" r:id="rId12"/>
    <p:sldLayoutId id="2147485976" r:id="rId13"/>
    <p:sldLayoutId id="2147485977" r:id="rId14"/>
    <p:sldLayoutId id="2147485978" r:id="rId15"/>
    <p:sldLayoutId id="2147485979" r:id="rId16"/>
    <p:sldLayoutId id="2147485980" r:id="rId17"/>
    <p:sldLayoutId id="2147485981" r:id="rId18"/>
    <p:sldLayoutId id="2147485982" r:id="rId19"/>
    <p:sldLayoutId id="2147485983" r:id="rId20"/>
    <p:sldLayoutId id="2147485984" r:id="rId21"/>
    <p:sldLayoutId id="2147485985" r:id="rId22"/>
    <p:sldLayoutId id="2147485986" r:id="rId23"/>
    <p:sldLayoutId id="2147485987" r:id="rId24"/>
    <p:sldLayoutId id="2147485988" r:id="rId25"/>
    <p:sldLayoutId id="2147485989" r:id="rId26"/>
    <p:sldLayoutId id="2147485990" r:id="rId27"/>
    <p:sldLayoutId id="2147485991" r:id="rId28"/>
    <p:sldLayoutId id="2147485992" r:id="rId29"/>
    <p:sldLayoutId id="2147485993" r:id="rId30"/>
    <p:sldLayoutId id="2147485994" r:id="rId31"/>
    <p:sldLayoutId id="2147485995" r:id="rId32"/>
    <p:sldLayoutId id="2147485996" r:id="rId33"/>
    <p:sldLayoutId id="2147485997" r:id="rId34"/>
    <p:sldLayoutId id="2147485998" r:id="rId35"/>
    <p:sldLayoutId id="2147485999" r:id="rId36"/>
    <p:sldLayoutId id="2147486000" r:id="rId37"/>
    <p:sldLayoutId id="2147486001" r:id="rId38"/>
    <p:sldLayoutId id="2147486002" r:id="rId39"/>
    <p:sldLayoutId id="2147486003" r:id="rId40"/>
    <p:sldLayoutId id="2147486004" r:id="rId41"/>
    <p:sldLayoutId id="2147486005" r:id="rId42"/>
    <p:sldLayoutId id="2147486006" r:id="rId43"/>
    <p:sldLayoutId id="2147486007" r:id="rId44"/>
  </p:sldLayoutIdLst>
  <p:transition spd="med"/>
  <p:txStyles>
    <p:titleStyle>
      <a:lvl1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1pPr>
      <a:lvl2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2pPr>
      <a:lvl3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3pPr>
      <a:lvl4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4pPr>
      <a:lvl5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5pPr>
      <a:lvl6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6pPr>
      <a:lvl7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7pPr>
      <a:lvl8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8pPr>
      <a:lvl9pPr marL="0" marR="0" indent="0" algn="l" defTabSz="121917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9pPr>
    </p:titleStyle>
    <p:bodyStyle>
      <a:lvl1pPr marL="0" marR="0" indent="0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1pPr>
      <a:lvl2pPr marL="164588" marR="0" indent="-164588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2pPr>
      <a:lvl3pPr marL="329176" marR="0" indent="-164588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3pPr>
      <a:lvl4pPr marL="493764" marR="0" indent="-164588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4pPr>
      <a:lvl5pPr marL="571486" marR="0" indent="-228594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5pPr>
      <a:lvl6pPr marL="921506" marR="0" indent="-194499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6pPr>
      <a:lvl7pPr marL="1102788" marR="0" indent="-194499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7pPr>
      <a:lvl8pPr marL="1284068" marR="0" indent="-194499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8pPr>
      <a:lvl9pPr marL="1465347" marR="0" indent="-194499" algn="l" defTabSz="1219170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9pPr>
    </p:bodyStyle>
    <p:otherStyle>
      <a:lvl1pPr marL="0" marR="0" indent="0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457333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914666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371999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829333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2286665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743999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3201333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3658667" algn="r" defTabSz="9146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725F1-C37C-6006-1A6E-AD04AB554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56599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95" imgH="396" progId="TCLayout.ActiveDocument.1">
                  <p:embed/>
                </p:oleObj>
              </mc:Choice>
              <mc:Fallback>
                <p:oleObj name="think-cell Slide" r:id="rId6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2725F1-C37C-6006-1A6E-AD04AB55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6950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7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4231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799" r:id="rId35"/>
    <p:sldLayoutId id="2147483800" r:id="rId36"/>
    <p:sldLayoutId id="2147483801" r:id="rId37"/>
    <p:sldLayoutId id="2147483802" r:id="rId38"/>
    <p:sldLayoutId id="2147483803" r:id="rId39"/>
    <p:sldLayoutId id="2147483804" r:id="rId40"/>
    <p:sldLayoutId id="2147483805" r:id="rId41"/>
    <p:sldLayoutId id="2147483806" r:id="rId42"/>
    <p:sldLayoutId id="2147483807" r:id="rId43"/>
    <p:sldLayoutId id="2147483808" r:id="rId44"/>
    <p:sldLayoutId id="2147483809" r:id="rId45"/>
    <p:sldLayoutId id="2147483810" r:id="rId46"/>
    <p:sldLayoutId id="2147483811" r:id="rId47"/>
    <p:sldLayoutId id="2147483812" r:id="rId48"/>
    <p:sldLayoutId id="2147483813" r:id="rId49"/>
    <p:sldLayoutId id="2147483815" r:id="rId50"/>
    <p:sldLayoutId id="2147483816" r:id="rId51"/>
    <p:sldLayoutId id="2147483817" r:id="rId52"/>
    <p:sldLayoutId id="2147483818" r:id="rId53"/>
    <p:sldLayoutId id="2147483819" r:id="rId54"/>
    <p:sldLayoutId id="2147483820" r:id="rId55"/>
    <p:sldLayoutId id="2147483821" r:id="rId56"/>
    <p:sldLayoutId id="2147483822" r:id="rId57"/>
  </p:sldLayoutIdLst>
  <p:transition spd="med"/>
  <p:hf hdr="0" dt="0"/>
  <p:txStyles>
    <p:titleStyle>
      <a:lvl1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14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28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642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857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28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056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584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279" marR="0" indent="-228511" algn="l" defTabSz="1218727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174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388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602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4816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30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85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28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71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14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576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005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434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0F62FE"/>
          </p15:clr>
        </p15:guide>
        <p15:guide id="3" pos="136">
          <p15:clr>
            <a:srgbClr val="EE5396"/>
          </p15:clr>
        </p15:guide>
        <p15:guide id="4" pos="1440">
          <p15:clr>
            <a:srgbClr val="0F62FE"/>
          </p15:clr>
        </p15:guide>
        <p15:guide id="5" pos="718">
          <p15:clr>
            <a:srgbClr val="EE5396"/>
          </p15:clr>
        </p15:guide>
        <p15:guide id="6" pos="2158">
          <p15:clr>
            <a:srgbClr val="EE5396"/>
          </p15:clr>
        </p15:guide>
        <p15:guide id="7" pos="2744">
          <p15:clr>
            <a:srgbClr val="EE5396"/>
          </p15:clr>
        </p15:guide>
        <p15:guide id="8" pos="3015">
          <p15:clr>
            <a:srgbClr val="EE5396"/>
          </p15:clr>
        </p15:guide>
        <p15:guide id="9" pos="1575">
          <p15:clr>
            <a:srgbClr val="EE5396"/>
          </p15:clr>
        </p15:guide>
        <p15:guide id="10" pos="1305">
          <p15:clr>
            <a:srgbClr val="EE5396"/>
          </p15:clr>
        </p15:guide>
        <p15:guide id="11" pos="3597">
          <p15:clr>
            <a:srgbClr val="EE5396"/>
          </p15:clr>
        </p15:guide>
        <p15:guide id="13" pos="4184">
          <p15:clr>
            <a:srgbClr val="EE5396"/>
          </p15:clr>
        </p15:guide>
        <p15:guide id="14" pos="4454">
          <p15:clr>
            <a:srgbClr val="EE5396"/>
          </p15:clr>
        </p15:guide>
        <p15:guide id="15" pos="5039">
          <p15:clr>
            <a:srgbClr val="EE5396"/>
          </p15:clr>
        </p15:guide>
        <p15:guide id="16" pos="5622">
          <p15:clr>
            <a:srgbClr val="EE5396"/>
          </p15:clr>
        </p15:guide>
        <p15:guide id="17" orient="horz" pos="810">
          <p15:clr>
            <a:srgbClr val="0F62FE"/>
          </p15:clr>
        </p15:guide>
        <p15:guide id="19" orient="horz" pos="1215">
          <p15:clr>
            <a:srgbClr val="EE5396"/>
          </p15:clr>
        </p15:guide>
        <p15:guide id="20" orient="horz" pos="405">
          <p15:clr>
            <a:srgbClr val="EE5396"/>
          </p15:clr>
        </p15:guide>
        <p15:guide id="21" orient="horz" pos="137">
          <p15:clr>
            <a:srgbClr val="EE5396"/>
          </p15:clr>
        </p15:guide>
        <p15:guide id="22" orient="horz" pos="2025">
          <p15:clr>
            <a:srgbClr val="EE5396"/>
          </p15:clr>
        </p15:guide>
        <p15:guide id="24" orient="horz" pos="2834">
          <p15:clr>
            <a:srgbClr val="EE5396"/>
          </p15:clr>
        </p15:guide>
        <p15:guide id="25" orient="horz" pos="3102">
          <p15:clr>
            <a:srgbClr val="EE5396"/>
          </p15:clr>
        </p15:guide>
        <p15:guide id="26" pos="2880">
          <p15:clr>
            <a:srgbClr val="0F62FE"/>
          </p15:clr>
        </p15:guide>
        <p15:guide id="27" pos="4319">
          <p15:clr>
            <a:srgbClr val="0F62FE"/>
          </p15:clr>
        </p15:guide>
        <p15:guide id="28" orient="horz" pos="2430">
          <p15:clr>
            <a:srgbClr val="0F62FE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725F1-C37C-6006-1A6E-AD04AB554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56599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95" imgH="396" progId="TCLayout.ActiveDocument.1">
                  <p:embed/>
                </p:oleObj>
              </mc:Choice>
              <mc:Fallback>
                <p:oleObj name="think-cell Slide" r:id="rId62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2725F1-C37C-6006-1A6E-AD04AB554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69509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7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0146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  <p:sldLayoutId id="2147483864" r:id="rId39"/>
    <p:sldLayoutId id="2147483865" r:id="rId40"/>
    <p:sldLayoutId id="2147483866" r:id="rId41"/>
    <p:sldLayoutId id="2147483867" r:id="rId42"/>
    <p:sldLayoutId id="2147483868" r:id="rId43"/>
    <p:sldLayoutId id="2147483869" r:id="rId44"/>
    <p:sldLayoutId id="2147483870" r:id="rId45"/>
    <p:sldLayoutId id="2147483871" r:id="rId46"/>
    <p:sldLayoutId id="2147483872" r:id="rId47"/>
    <p:sldLayoutId id="2147483873" r:id="rId48"/>
    <p:sldLayoutId id="2147483874" r:id="rId49"/>
    <p:sldLayoutId id="2147483875" r:id="rId50"/>
    <p:sldLayoutId id="2147483876" r:id="rId51"/>
    <p:sldLayoutId id="2147483877" r:id="rId52"/>
    <p:sldLayoutId id="2147483878" r:id="rId53"/>
    <p:sldLayoutId id="2147483879" r:id="rId54"/>
    <p:sldLayoutId id="2147483880" r:id="rId55"/>
    <p:sldLayoutId id="2147483881" r:id="rId56"/>
    <p:sldLayoutId id="2147483882" r:id="rId57"/>
    <p:sldLayoutId id="2147483883" r:id="rId58"/>
    <p:sldLayoutId id="2147483884" r:id="rId59"/>
  </p:sldLayoutIdLst>
  <p:transition spd="med"/>
  <p:hf sldNum="0" hdr="0" ftr="0" dt="0"/>
  <p:txStyles>
    <p:titleStyle>
      <a:lvl1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14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28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642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857" algn="l" defTabSz="121872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28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056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584" marR="0" indent="-164528" algn="l" defTabSz="1218727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279" marR="0" indent="-228511" algn="l" defTabSz="1218727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174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388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602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4816" marR="0" indent="-194429" algn="l" defTabSz="1218727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30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85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28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71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147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576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005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434" algn="r" defTabSz="91429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0F62FE"/>
          </p15:clr>
        </p15:guide>
        <p15:guide id="3" pos="136">
          <p15:clr>
            <a:srgbClr val="EE5396"/>
          </p15:clr>
        </p15:guide>
        <p15:guide id="4" pos="1440">
          <p15:clr>
            <a:srgbClr val="0F62FE"/>
          </p15:clr>
        </p15:guide>
        <p15:guide id="5" pos="718">
          <p15:clr>
            <a:srgbClr val="EE5396"/>
          </p15:clr>
        </p15:guide>
        <p15:guide id="6" pos="2158">
          <p15:clr>
            <a:srgbClr val="EE5396"/>
          </p15:clr>
        </p15:guide>
        <p15:guide id="7" pos="2744">
          <p15:clr>
            <a:srgbClr val="EE5396"/>
          </p15:clr>
        </p15:guide>
        <p15:guide id="8" pos="3015">
          <p15:clr>
            <a:srgbClr val="EE5396"/>
          </p15:clr>
        </p15:guide>
        <p15:guide id="9" pos="1575">
          <p15:clr>
            <a:srgbClr val="EE5396"/>
          </p15:clr>
        </p15:guide>
        <p15:guide id="10" pos="1305">
          <p15:clr>
            <a:srgbClr val="EE5396"/>
          </p15:clr>
        </p15:guide>
        <p15:guide id="11" pos="3597">
          <p15:clr>
            <a:srgbClr val="EE5396"/>
          </p15:clr>
        </p15:guide>
        <p15:guide id="13" pos="4184">
          <p15:clr>
            <a:srgbClr val="EE5396"/>
          </p15:clr>
        </p15:guide>
        <p15:guide id="14" pos="4454">
          <p15:clr>
            <a:srgbClr val="EE5396"/>
          </p15:clr>
        </p15:guide>
        <p15:guide id="15" pos="5039">
          <p15:clr>
            <a:srgbClr val="EE5396"/>
          </p15:clr>
        </p15:guide>
        <p15:guide id="16" pos="5622">
          <p15:clr>
            <a:srgbClr val="EE5396"/>
          </p15:clr>
        </p15:guide>
        <p15:guide id="17" orient="horz" pos="810">
          <p15:clr>
            <a:srgbClr val="0F62FE"/>
          </p15:clr>
        </p15:guide>
        <p15:guide id="19" orient="horz" pos="1215">
          <p15:clr>
            <a:srgbClr val="EE5396"/>
          </p15:clr>
        </p15:guide>
        <p15:guide id="20" orient="horz" pos="405">
          <p15:clr>
            <a:srgbClr val="EE5396"/>
          </p15:clr>
        </p15:guide>
        <p15:guide id="21" orient="horz" pos="137">
          <p15:clr>
            <a:srgbClr val="EE5396"/>
          </p15:clr>
        </p15:guide>
        <p15:guide id="22" orient="horz" pos="2025">
          <p15:clr>
            <a:srgbClr val="EE5396"/>
          </p15:clr>
        </p15:guide>
        <p15:guide id="24" orient="horz" pos="2834">
          <p15:clr>
            <a:srgbClr val="EE5396"/>
          </p15:clr>
        </p15:guide>
        <p15:guide id="25" orient="horz" pos="3102">
          <p15:clr>
            <a:srgbClr val="EE5396"/>
          </p15:clr>
        </p15:guide>
        <p15:guide id="26" pos="2880">
          <p15:clr>
            <a:srgbClr val="0F62FE"/>
          </p15:clr>
        </p15:guide>
        <p15:guide id="27" pos="4319">
          <p15:clr>
            <a:srgbClr val="0F62FE"/>
          </p15:clr>
        </p15:guide>
        <p15:guide id="28" orient="horz" pos="2430">
          <p15:clr>
            <a:srgbClr val="0F62FE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6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7116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08" r:id="rId23"/>
    <p:sldLayoutId id="2147483909" r:id="rId24"/>
    <p:sldLayoutId id="2147483910" r:id="rId25"/>
    <p:sldLayoutId id="2147483911" r:id="rId26"/>
    <p:sldLayoutId id="2147483912" r:id="rId27"/>
    <p:sldLayoutId id="2147483913" r:id="rId28"/>
    <p:sldLayoutId id="2147483914" r:id="rId29"/>
    <p:sldLayoutId id="2147483915" r:id="rId30"/>
    <p:sldLayoutId id="2147483916" r:id="rId31"/>
    <p:sldLayoutId id="2147483917" r:id="rId32"/>
    <p:sldLayoutId id="2147483918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</p:sldLayoutIdLst>
  <p:transition spd="med"/>
  <p:hf sldNum="0" hdr="0" ft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8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88037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63700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4076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  <p:sldLayoutId id="2147483957" r:id="rId21"/>
    <p:sldLayoutId id="2147483958" r:id="rId22"/>
    <p:sldLayoutId id="2147483959" r:id="rId23"/>
    <p:sldLayoutId id="2147483960" r:id="rId24"/>
    <p:sldLayoutId id="2147483961" r:id="rId25"/>
    <p:sldLayoutId id="2147483962" r:id="rId26"/>
    <p:sldLayoutId id="2147483963" r:id="rId27"/>
    <p:sldLayoutId id="2147483964" r:id="rId28"/>
    <p:sldLayoutId id="2147483965" r:id="rId29"/>
    <p:sldLayoutId id="2147483966" r:id="rId30"/>
    <p:sldLayoutId id="2147483967" r:id="rId31"/>
    <p:sldLayoutId id="2147483968" r:id="rId32"/>
    <p:sldLayoutId id="2147483969" r:id="rId33"/>
    <p:sldLayoutId id="2147483970" r:id="rId34"/>
    <p:sldLayoutId id="2147483971" r:id="rId35"/>
    <p:sldLayoutId id="2147483972" r:id="rId36"/>
    <p:sldLayoutId id="2147483973" r:id="rId37"/>
    <p:sldLayoutId id="2147483974" r:id="rId38"/>
    <p:sldLayoutId id="2147483975" r:id="rId39"/>
    <p:sldLayoutId id="2147483976" r:id="rId40"/>
    <p:sldLayoutId id="2147483977" r:id="rId41"/>
    <p:sldLayoutId id="2147483978" r:id="rId42"/>
    <p:sldLayoutId id="2147483979" r:id="rId43"/>
    <p:sldLayoutId id="2147483980" r:id="rId44"/>
    <p:sldLayoutId id="2147483981" r:id="rId45"/>
    <p:sldLayoutId id="2147483982" r:id="rId46"/>
    <p:sldLayoutId id="2147483983" r:id="rId47"/>
    <p:sldLayoutId id="2147483984" r:id="rId48"/>
  </p:sldLayoutIdLst>
  <p:transition spd="med"/>
  <p:hf hdr="0" dt="0"/>
  <p:txStyles>
    <p:titleStyle>
      <a:lvl1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12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2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63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848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26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052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578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272" marR="0" indent="-228508" algn="l" defTabSz="1218712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162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374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586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4798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2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853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281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708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136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562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19999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41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0F62FE"/>
          </p15:clr>
        </p15:guide>
        <p15:guide id="3" pos="182">
          <p15:clr>
            <a:srgbClr val="EE5396"/>
          </p15:clr>
        </p15:guide>
        <p15:guide id="4" pos="1920">
          <p15:clr>
            <a:srgbClr val="0F62FE"/>
          </p15:clr>
        </p15:guide>
        <p15:guide id="5" pos="958">
          <p15:clr>
            <a:srgbClr val="EE5396"/>
          </p15:clr>
        </p15:guide>
        <p15:guide id="6" pos="2878">
          <p15:clr>
            <a:srgbClr val="EE5396"/>
          </p15:clr>
        </p15:guide>
        <p15:guide id="7" pos="3659">
          <p15:clr>
            <a:srgbClr val="EE5396"/>
          </p15:clr>
        </p15:guide>
        <p15:guide id="8" pos="4019">
          <p15:clr>
            <a:srgbClr val="EE5396"/>
          </p15:clr>
        </p15:guide>
        <p15:guide id="9" pos="2100">
          <p15:clr>
            <a:srgbClr val="EE5396"/>
          </p15:clr>
        </p15:guide>
        <p15:guide id="10" pos="1740">
          <p15:clr>
            <a:srgbClr val="EE5396"/>
          </p15:clr>
        </p15:guide>
        <p15:guide id="11" pos="4796">
          <p15:clr>
            <a:srgbClr val="EE5396"/>
          </p15:clr>
        </p15:guide>
        <p15:guide id="13" pos="5579">
          <p15:clr>
            <a:srgbClr val="EE5396"/>
          </p15:clr>
        </p15:guide>
        <p15:guide id="14" pos="5939">
          <p15:clr>
            <a:srgbClr val="EE5396"/>
          </p15:clr>
        </p15:guide>
        <p15:guide id="15" pos="6719">
          <p15:clr>
            <a:srgbClr val="EE5396"/>
          </p15:clr>
        </p15:guide>
        <p15:guide id="16" pos="7497">
          <p15:clr>
            <a:srgbClr val="EE5396"/>
          </p15:clr>
        </p15:guide>
        <p15:guide id="17" orient="horz" pos="1080">
          <p15:clr>
            <a:srgbClr val="0F62FE"/>
          </p15:clr>
        </p15:guide>
        <p15:guide id="19" orient="horz" pos="1620">
          <p15:clr>
            <a:srgbClr val="EE5396"/>
          </p15:clr>
        </p15:guide>
        <p15:guide id="20" orient="horz" pos="540">
          <p15:clr>
            <a:srgbClr val="EE5396"/>
          </p15:clr>
        </p15:guide>
        <p15:guide id="21" orient="horz" pos="182">
          <p15:clr>
            <a:srgbClr val="EE5396"/>
          </p15:clr>
        </p15:guide>
        <p15:guide id="22" orient="horz" pos="2700">
          <p15:clr>
            <a:srgbClr val="EE5396"/>
          </p15:clr>
        </p15:guide>
        <p15:guide id="24" orient="horz" pos="3779">
          <p15:clr>
            <a:srgbClr val="EE5396"/>
          </p15:clr>
        </p15:guide>
        <p15:guide id="25" orient="horz" pos="4137">
          <p15:clr>
            <a:srgbClr val="EE5396"/>
          </p15:clr>
        </p15:guide>
        <p15:guide id="26" pos="3840">
          <p15:clr>
            <a:srgbClr val="0F62FE"/>
          </p15:clr>
        </p15:guide>
        <p15:guide id="27" pos="5759">
          <p15:clr>
            <a:srgbClr val="0F62FE"/>
          </p15:clr>
        </p15:guide>
        <p15:guide id="28" orient="horz" pos="3240">
          <p15:clr>
            <a:srgbClr val="0F62FE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8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44195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57437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Think 2023 / © 2023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423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  <p:sldLayoutId id="2147483999" r:id="rId14"/>
    <p:sldLayoutId id="2147484000" r:id="rId15"/>
    <p:sldLayoutId id="2147484001" r:id="rId16"/>
    <p:sldLayoutId id="2147484002" r:id="rId17"/>
    <p:sldLayoutId id="2147484003" r:id="rId18"/>
    <p:sldLayoutId id="2147484004" r:id="rId19"/>
    <p:sldLayoutId id="2147484005" r:id="rId20"/>
    <p:sldLayoutId id="2147484006" r:id="rId21"/>
    <p:sldLayoutId id="2147484007" r:id="rId22"/>
    <p:sldLayoutId id="2147484008" r:id="rId23"/>
    <p:sldLayoutId id="2147484009" r:id="rId24"/>
    <p:sldLayoutId id="2147484010" r:id="rId25"/>
    <p:sldLayoutId id="2147484011" r:id="rId26"/>
    <p:sldLayoutId id="2147484012" r:id="rId27"/>
    <p:sldLayoutId id="2147484013" r:id="rId28"/>
    <p:sldLayoutId id="2147484014" r:id="rId29"/>
    <p:sldLayoutId id="2147484015" r:id="rId30"/>
    <p:sldLayoutId id="2147484016" r:id="rId31"/>
    <p:sldLayoutId id="2147484017" r:id="rId32"/>
    <p:sldLayoutId id="2147484018" r:id="rId33"/>
    <p:sldLayoutId id="2147484019" r:id="rId34"/>
    <p:sldLayoutId id="2147484020" r:id="rId35"/>
    <p:sldLayoutId id="2147484021" r:id="rId36"/>
    <p:sldLayoutId id="2147484022" r:id="rId37"/>
    <p:sldLayoutId id="2147484023" r:id="rId38"/>
    <p:sldLayoutId id="2147484024" r:id="rId39"/>
    <p:sldLayoutId id="2147484025" r:id="rId40"/>
    <p:sldLayoutId id="2147484026" r:id="rId41"/>
    <p:sldLayoutId id="2147484027" r:id="rId42"/>
    <p:sldLayoutId id="2147484028" r:id="rId43"/>
    <p:sldLayoutId id="2147484029" r:id="rId44"/>
    <p:sldLayoutId id="2147484030" r:id="rId45"/>
    <p:sldLayoutId id="2147484031" r:id="rId46"/>
    <p:sldLayoutId id="2147484032" r:id="rId47"/>
    <p:sldLayoutId id="2147484033" r:id="rId48"/>
    <p:sldLayoutId id="2147484034" r:id="rId49"/>
    <p:sldLayoutId id="2147484035" r:id="rId50"/>
    <p:sldLayoutId id="2147484036" r:id="rId51"/>
    <p:sldLayoutId id="2147484038" r:id="rId52"/>
  </p:sldLayoutIdLst>
  <p:transition spd="med"/>
  <p:hf hdr="0" dt="0"/>
  <p:txStyles>
    <p:titleStyle>
      <a:lvl1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12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2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635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848" algn="l" defTabSz="1218712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8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26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052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578" marR="0" indent="-164526" algn="l" defTabSz="1218712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272" marR="0" indent="-228508" algn="l" defTabSz="1218712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162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374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586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4798" marR="0" indent="-194427" algn="l" defTabSz="1218712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2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853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281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708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136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562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199990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417" algn="r" defTabSz="91427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56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7910" y="6469508"/>
            <a:ext cx="136791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44195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57438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6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006240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  <p:sldLayoutId id="2147484064" r:id="rId25"/>
    <p:sldLayoutId id="2147484065" r:id="rId26"/>
    <p:sldLayoutId id="2147484066" r:id="rId27"/>
    <p:sldLayoutId id="2147484067" r:id="rId28"/>
    <p:sldLayoutId id="2147484068" r:id="rId29"/>
    <p:sldLayoutId id="2147484069" r:id="rId30"/>
    <p:sldLayoutId id="2147484070" r:id="rId31"/>
    <p:sldLayoutId id="2147484071" r:id="rId32"/>
    <p:sldLayoutId id="2147484072" r:id="rId33"/>
    <p:sldLayoutId id="2147484073" r:id="rId34"/>
    <p:sldLayoutId id="2147484074" r:id="rId35"/>
    <p:sldLayoutId id="2147484075" r:id="rId36"/>
    <p:sldLayoutId id="2147484076" r:id="rId37"/>
    <p:sldLayoutId id="2147484077" r:id="rId38"/>
    <p:sldLayoutId id="2147484078" r:id="rId39"/>
    <p:sldLayoutId id="2147484079" r:id="rId40"/>
    <p:sldLayoutId id="2147484080" r:id="rId41"/>
    <p:sldLayoutId id="2147484081" r:id="rId42"/>
    <p:sldLayoutId id="2147484082" r:id="rId43"/>
    <p:sldLayoutId id="2147484083" r:id="rId44"/>
    <p:sldLayoutId id="2147484084" r:id="rId45"/>
    <p:sldLayoutId id="2147484085" r:id="rId46"/>
    <p:sldLayoutId id="2147484086" r:id="rId47"/>
    <p:sldLayoutId id="2147484087" r:id="rId48"/>
    <p:sldLayoutId id="2147484088" r:id="rId49"/>
    <p:sldLayoutId id="2147484089" r:id="rId50"/>
    <p:sldLayoutId id="2147484090" r:id="rId51"/>
    <p:sldLayoutId id="2147484091" r:id="rId52"/>
    <p:sldLayoutId id="2147484092" r:id="rId53"/>
    <p:sldLayoutId id="2147484093" r:id="rId54"/>
    <p:sldLayoutId id="2147484094" r:id="rId55"/>
    <p:sldLayoutId id="2147484095" r:id="rId56"/>
    <p:sldLayoutId id="2147484096" r:id="rId57"/>
    <p:sldLayoutId id="2147484097" r:id="rId58"/>
    <p:sldLayoutId id="2147484098" r:id="rId59"/>
    <p:sldLayoutId id="2147484099" r:id="rId60"/>
    <p:sldLayoutId id="2147484100" r:id="rId61"/>
    <p:sldLayoutId id="2147484101" r:id="rId62"/>
    <p:sldLayoutId id="2147484102" r:id="rId63"/>
    <p:sldLayoutId id="2147484103" r:id="rId64"/>
    <p:sldLayoutId id="2147484104" r:id="rId65"/>
    <p:sldLayoutId id="2147484105" r:id="rId66"/>
    <p:sldLayoutId id="2147484106" r:id="rId67"/>
    <p:sldLayoutId id="2147484107" r:id="rId68"/>
    <p:sldLayoutId id="2147484108" r:id="rId69"/>
    <p:sldLayoutId id="2147484109" r:id="rId70"/>
    <p:sldLayoutId id="2147484110" r:id="rId71"/>
    <p:sldLayoutId id="2147484111" r:id="rId72"/>
    <p:sldLayoutId id="2147484112" r:id="rId73"/>
    <p:sldLayoutId id="2147484113" r:id="rId74"/>
    <p:sldLayoutId id="2147484114" r:id="rId75"/>
    <p:sldLayoutId id="2147484115" r:id="rId76"/>
    <p:sldLayoutId id="2147484116" r:id="rId77"/>
    <p:sldLayoutId id="2147484117" r:id="rId78"/>
    <p:sldLayoutId id="2147484118" r:id="rId79"/>
    <p:sldLayoutId id="2147484119" r:id="rId80"/>
    <p:sldLayoutId id="2147484120" r:id="rId81"/>
    <p:sldLayoutId id="2147484121" r:id="rId82"/>
    <p:sldLayoutId id="2147484122" r:id="rId83"/>
    <p:sldLayoutId id="2147484123" r:id="rId84"/>
    <p:sldLayoutId id="2147484124" r:id="rId85"/>
    <p:sldLayoutId id="2147484125" r:id="rId86"/>
    <p:sldLayoutId id="2147484126" r:id="rId8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marR="0" indent="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50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501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51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5002" algn="l" defTabSz="1218971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71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61" marR="0" indent="-164561" algn="l" defTabSz="1218971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22" marR="0" indent="-164561" algn="l" defTabSz="1218971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83" marR="0" indent="-164561" algn="l" defTabSz="1218971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93" marR="0" indent="-228557" algn="l" defTabSz="1218971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58" marR="0" indent="-194468" algn="l" defTabSz="1218971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609" marR="0" indent="-194468" algn="l" defTabSz="1218971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59" marR="0" indent="-194468" algn="l" defTabSz="1218971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109" marR="0" indent="-194468" algn="l" defTabSz="1218971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4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6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90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54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18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82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45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708" algn="r" defTabSz="91447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56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9264" y="6469507"/>
            <a:ext cx="135436" cy="12311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87999" y="244195"/>
            <a:ext cx="11293592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87300" y="1657437"/>
            <a:ext cx="11293592" cy="43346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125" y="6402118"/>
            <a:ext cx="2477765" cy="1905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TechXchange</a:t>
            </a:r>
            <a:r>
              <a:rPr lang="en-US" dirty="0"/>
              <a:t> /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84820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  <p:sldLayoutId id="2147484148" r:id="rId20"/>
    <p:sldLayoutId id="2147484149" r:id="rId21"/>
    <p:sldLayoutId id="2147484150" r:id="rId22"/>
    <p:sldLayoutId id="2147484151" r:id="rId23"/>
    <p:sldLayoutId id="2147484152" r:id="rId24"/>
    <p:sldLayoutId id="2147484153" r:id="rId25"/>
    <p:sldLayoutId id="2147484154" r:id="rId26"/>
    <p:sldLayoutId id="2147484155" r:id="rId27"/>
    <p:sldLayoutId id="2147484156" r:id="rId28"/>
    <p:sldLayoutId id="2147484157" r:id="rId29"/>
    <p:sldLayoutId id="2147484158" r:id="rId30"/>
    <p:sldLayoutId id="2147484159" r:id="rId31"/>
    <p:sldLayoutId id="2147484160" r:id="rId32"/>
    <p:sldLayoutId id="2147484161" r:id="rId33"/>
    <p:sldLayoutId id="2147484162" r:id="rId34"/>
    <p:sldLayoutId id="2147484163" r:id="rId35"/>
    <p:sldLayoutId id="2147484164" r:id="rId36"/>
    <p:sldLayoutId id="2147484165" r:id="rId37"/>
    <p:sldLayoutId id="2147484166" r:id="rId38"/>
    <p:sldLayoutId id="2147484167" r:id="rId39"/>
    <p:sldLayoutId id="2147484168" r:id="rId40"/>
    <p:sldLayoutId id="2147484169" r:id="rId41"/>
    <p:sldLayoutId id="2147484170" r:id="rId42"/>
    <p:sldLayoutId id="2147484171" r:id="rId43"/>
    <p:sldLayoutId id="2147484172" r:id="rId44"/>
    <p:sldLayoutId id="2147484173" r:id="rId45"/>
    <p:sldLayoutId id="2147484174" r:id="rId46"/>
    <p:sldLayoutId id="2147484175" r:id="rId47"/>
    <p:sldLayoutId id="2147484176" r:id="rId48"/>
    <p:sldLayoutId id="2147484177" r:id="rId49"/>
    <p:sldLayoutId id="2147484178" r:id="rId50"/>
    <p:sldLayoutId id="2147484179" r:id="rId51"/>
    <p:sldLayoutId id="2147484180" r:id="rId52"/>
    <p:sldLayoutId id="2147484181" r:id="rId53"/>
    <p:sldLayoutId id="2147484182" r:id="rId54"/>
    <p:sldLayoutId id="2147484183" r:id="rId55"/>
    <p:sldLayoutId id="2147484184" r:id="rId56"/>
    <p:sldLayoutId id="2147484185" r:id="rId57"/>
    <p:sldLayoutId id="2147484186" r:id="rId58"/>
    <p:sldLayoutId id="2147484187" r:id="rId59"/>
    <p:sldLayoutId id="2147484188" r:id="rId60"/>
    <p:sldLayoutId id="2147484189" r:id="rId61"/>
    <p:sldLayoutId id="2147484190" r:id="rId62"/>
    <p:sldLayoutId id="2147484191" r:id="rId63"/>
    <p:sldLayoutId id="2147484192" r:id="rId64"/>
    <p:sldLayoutId id="2147484193" r:id="rId65"/>
    <p:sldLayoutId id="2147484194" r:id="rId66"/>
    <p:sldLayoutId id="2147484195" r:id="rId67"/>
    <p:sldLayoutId id="2147484196" r:id="rId68"/>
    <p:sldLayoutId id="2147484197" r:id="rId69"/>
    <p:sldLayoutId id="2147484198" r:id="rId70"/>
    <p:sldLayoutId id="2147484199" r:id="rId71"/>
    <p:sldLayoutId id="2147484200" r:id="rId72"/>
    <p:sldLayoutId id="2147484201" r:id="rId73"/>
    <p:sldLayoutId id="2147484202" r:id="rId74"/>
    <p:sldLayoutId id="2147484203" r:id="rId75"/>
    <p:sldLayoutId id="2147484204" r:id="rId76"/>
    <p:sldLayoutId id="2147484205" r:id="rId77"/>
    <p:sldLayoutId id="2147484206" r:id="rId78"/>
    <p:sldLayoutId id="2147484207" r:id="rId79"/>
    <p:sldLayoutId id="2147484208" r:id="rId80"/>
    <p:sldLayoutId id="2147484209" r:id="rId81"/>
    <p:sldLayoutId id="2147484210" r:id="rId82"/>
    <p:sldLayoutId id="2147484211" r:id="rId83"/>
    <p:sldLayoutId id="2147484212" r:id="rId84"/>
    <p:sldLayoutId id="2147484213" r:id="rId85"/>
    <p:sldLayoutId id="2147484214" r:id="rId8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81248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362497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543744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724993" algn="l" defTabSz="1218956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64559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329118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493677" marR="0" indent="-164559" algn="l" defTabSz="1218956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571386" marR="0" indent="-228554" algn="l" defTabSz="1218956" rtl="0" eaLnBrk="1" latinLnBrk="0" hangingPunct="1">
        <a:lnSpc>
          <a:spcPct val="110000"/>
        </a:lnSpc>
        <a:spcBef>
          <a:spcPts val="145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921346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1102595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1283843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465091" marR="0" indent="-194466" algn="l" defTabSz="1218956" rtl="0" eaLnBrk="1" latinLnBrk="0" hangingPunct="1">
        <a:lnSpc>
          <a:spcPct val="100000"/>
        </a:lnSpc>
        <a:spcBef>
          <a:spcPts val="1450"/>
        </a:spcBef>
        <a:spcAft>
          <a:spcPts val="0"/>
        </a:spcAft>
        <a:buClrTx/>
        <a:buSzPct val="100000"/>
        <a:buFontTx/>
        <a:buChar char="»"/>
        <a:tabLst/>
        <a:defRPr sz="18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7146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342922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514384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685845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857307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1028768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1200230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371691" algn="r" defTabSz="91446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56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28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759.xml"/><Relationship Id="rId1" Type="http://schemas.openxmlformats.org/officeDocument/2006/relationships/tags" Target="../tags/tag10.xml"/><Relationship Id="rId6" Type="http://schemas.openxmlformats.org/officeDocument/2006/relationships/image" Target="../media/image72.png"/><Relationship Id="rId5" Type="http://schemas.openxmlformats.org/officeDocument/2006/relationships/image" Target="../media/image7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0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0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0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hyperlink" Target="https://ibm.biz/SB4A-Edunet-AICTE-Internship" TargetMode="External"/><Relationship Id="rId1" Type="http://schemas.openxmlformats.org/officeDocument/2006/relationships/slideLayout" Target="../slideLayouts/slideLayout80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../media/image79.png"/><Relationship Id="rId3" Type="http://schemas.openxmlformats.org/officeDocument/2006/relationships/image" Target="../media/image76.png"/><Relationship Id="rId7" Type="http://schemas.openxmlformats.org/officeDocument/2006/relationships/customXml" Target="../ink/ink2.xml"/><Relationship Id="rId12" Type="http://schemas.openxmlformats.org/officeDocument/2006/relationships/image" Target="../media/image78.png"/><Relationship Id="rId2" Type="http://schemas.openxmlformats.org/officeDocument/2006/relationships/hyperlink" Target="https://ibm.biz/SB4A-Edunet-AICTE-Internship" TargetMode="External"/><Relationship Id="rId1" Type="http://schemas.openxmlformats.org/officeDocument/2006/relationships/slideLayout" Target="../slideLayouts/slideLayout804.xml"/><Relationship Id="rId6" Type="http://schemas.openxmlformats.org/officeDocument/2006/relationships/image" Target="NULL"/><Relationship Id="rId11" Type="http://schemas.openxmlformats.org/officeDocument/2006/relationships/image" Target="../media/image75.png"/><Relationship Id="rId5" Type="http://schemas.openxmlformats.org/officeDocument/2006/relationships/customXml" Target="../ink/ink1.xml"/><Relationship Id="rId10" Type="http://schemas.openxmlformats.org/officeDocument/2006/relationships/customXml" Target="../ink/ink4.xml"/><Relationship Id="rId4" Type="http://schemas.openxmlformats.org/officeDocument/2006/relationships/image" Target="../media/image77.png"/><Relationship Id="rId9" Type="http://schemas.openxmlformats.org/officeDocument/2006/relationships/customXml" Target="../ink/ink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products/watson-assistant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6.xml"/><Relationship Id="rId5" Type="http://schemas.openxmlformats.org/officeDocument/2006/relationships/image" Target="../media/image54.svg"/><Relationship Id="rId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54.svg"/><Relationship Id="rId3" Type="http://schemas.openxmlformats.org/officeDocument/2006/relationships/image" Target="../media/image52.png"/><Relationship Id="rId7" Type="http://schemas.openxmlformats.org/officeDocument/2006/relationships/image" Target="../media/image58.pn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54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54.xml"/><Relationship Id="rId4" Type="http://schemas.openxmlformats.org/officeDocument/2006/relationships/image" Target="../media/image54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0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>
            <a:extLst>
              <a:ext uri="{FF2B5EF4-FFF2-40B4-BE49-F238E27FC236}">
                <a16:creationId xmlns:a16="http://schemas.microsoft.com/office/drawing/2014/main" id="{296462D2-EAA7-52A3-71EF-78681082A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67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file photo for Dhara Bagadia">
            <a:extLst>
              <a:ext uri="{FF2B5EF4-FFF2-40B4-BE49-F238E27FC236}">
                <a16:creationId xmlns:a16="http://schemas.microsoft.com/office/drawing/2014/main" id="{B3C6C558-5F49-FCE2-1DCD-42B8BEA04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345" y="4644025"/>
            <a:ext cx="2044821" cy="204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F5EB86C-314C-AFA8-1410-A0EA86AF7D86}"/>
              </a:ext>
            </a:extLst>
          </p:cNvPr>
          <p:cNvSpPr txBox="1"/>
          <p:nvPr/>
        </p:nvSpPr>
        <p:spPr>
          <a:xfrm>
            <a:off x="716692" y="6610865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E10C98-59ED-32A6-3B7F-9D50B71D9270}"/>
              </a:ext>
            </a:extLst>
          </p:cNvPr>
          <p:cNvSpPr txBox="1"/>
          <p:nvPr/>
        </p:nvSpPr>
        <p:spPr>
          <a:xfrm>
            <a:off x="9256686" y="4822574"/>
            <a:ext cx="3231715" cy="2044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algn="l" defTabSz="2438400">
              <a:spcBef>
                <a:spcPts val="2900"/>
              </a:spcBef>
              <a:buSzPct val="100000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hara Bagadia                                  </a:t>
            </a:r>
            <a:b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Scientist                                 </a:t>
            </a:r>
            <a:b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osystem Engineering         </a:t>
            </a:r>
            <a:b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BM India Software Labs    </a:t>
            </a:r>
            <a:b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22E13E-A741-41BF-86E0-9394672D5832}"/>
              </a:ext>
            </a:extLst>
          </p:cNvPr>
          <p:cNvSpPr txBox="1"/>
          <p:nvPr/>
        </p:nvSpPr>
        <p:spPr>
          <a:xfrm>
            <a:off x="838444" y="297482"/>
            <a:ext cx="10723079" cy="46166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IN" sz="2400" b="1" i="0" u="none" strike="noStrike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Segoe UI" panose="020B0502040204020203" pitchFamily="34" charset="0"/>
              </a:rPr>
              <a:t>Generative AI using </a:t>
            </a:r>
            <a:r>
              <a:rPr lang="en-IN" sz="2400" b="1" dirty="0">
                <a:solidFill>
                  <a:srgbClr val="000000"/>
                </a:solidFill>
                <a:highlight>
                  <a:srgbClr val="FFFFFF"/>
                </a:highlight>
                <a:latin typeface="Segoe UI" panose="020B0502040204020203" pitchFamily="34" charset="0"/>
              </a:rPr>
              <a:t>w</a:t>
            </a:r>
            <a:r>
              <a:rPr lang="en-IN" sz="2400" b="1" i="0" u="none" strike="noStrike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Segoe UI" panose="020B0502040204020203" pitchFamily="34" charset="0"/>
              </a:rPr>
              <a:t>atsonx in IBM Cloud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6719731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992E1-FCD4-D527-F989-21D7C3E63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9334"/>
            <a:ext cx="3711980" cy="701584"/>
          </a:xfrm>
        </p:spPr>
        <p:txBody>
          <a:bodyPr/>
          <a:lstStyle/>
          <a:p>
            <a:r>
              <a:rPr lang="en-US" b="1" dirty="0">
                <a:solidFill>
                  <a:srgbClr val="000000"/>
                </a:solidFill>
                <a:latin typeface="IBM Plex Sans SmBld" panose="020B0503050203000203" pitchFamily="34" charset="0"/>
              </a:rPr>
              <a:t>watson</a:t>
            </a:r>
            <a:r>
              <a:rPr lang="en-US" b="1" dirty="0">
                <a:solidFill>
                  <a:srgbClr val="0F62FE"/>
                </a:solidFill>
                <a:latin typeface="IBM Plex Sans SmBld" panose="020B0503050203000203" pitchFamily="34" charset="0"/>
              </a:rPr>
              <a:t>x.</a:t>
            </a:r>
            <a:r>
              <a:rPr lang="en-US" b="1" dirty="0">
                <a:solidFill>
                  <a:schemeClr val="tx1"/>
                </a:solidFill>
                <a:latin typeface="IBM Plex Sans SmBld" panose="020B0503050203000203" pitchFamily="34" charset="0"/>
              </a:rPr>
              <a:t>ai</a:t>
            </a:r>
            <a:endParaRPr lang="en-US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AFE93-0A9F-AACA-0DEF-24A8B46E65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85678" y="1527624"/>
            <a:ext cx="3733314" cy="615473"/>
          </a:xfrm>
        </p:spPr>
        <p:txBody>
          <a:bodyPr/>
          <a:lstStyle/>
          <a:p>
            <a:pPr algn="ctr"/>
            <a:r>
              <a:rPr lang="en-US" sz="2200" dirty="0"/>
              <a:t> Plus, a proven studio            for machine learn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E51D80-E68E-5CC2-B8BB-AB6DDB6D4BB1}"/>
              </a:ext>
            </a:extLst>
          </p:cNvPr>
          <p:cNvSpPr txBox="1"/>
          <p:nvPr/>
        </p:nvSpPr>
        <p:spPr>
          <a:xfrm>
            <a:off x="169752" y="829763"/>
            <a:ext cx="6649993" cy="6052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21904" tIns="60952" rIns="121904" bIns="60952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Train, validate, tune, and deploy AI models with confidence</a:t>
            </a:r>
            <a:b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</a:b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IBM Plex Sans" charset="0"/>
              <a:cs typeface="IBM Plex Sans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907975-1842-B2EA-8545-907C0ABDBA55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1608499" y="1527624"/>
            <a:ext cx="297141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200" dirty="0"/>
              <a:t>Generative AI capabilities </a:t>
            </a:r>
            <a:endParaRPr lang="en-US" sz="2133" u="sn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9E32FB-CC52-45F2-6332-9C8C400F84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1398" y="2562160"/>
            <a:ext cx="1032299" cy="9022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3A4EB3-A55D-66AC-8E40-F05BBBDCB5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098" y="3585413"/>
            <a:ext cx="1273045" cy="8919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0C88C1A-7660-04D7-0211-EBF3236CD4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1327" y="4803570"/>
            <a:ext cx="1032299" cy="6822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26A775C-8D49-721F-8B2E-2DDE208A0DCF}"/>
              </a:ext>
            </a:extLst>
          </p:cNvPr>
          <p:cNvSpPr txBox="1"/>
          <p:nvPr/>
        </p:nvSpPr>
        <p:spPr>
          <a:xfrm>
            <a:off x="9034294" y="2751726"/>
            <a:ext cx="1564964" cy="523188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ModelO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6A4469-2535-B7F8-4DA0-60ED45FA9E46}"/>
              </a:ext>
            </a:extLst>
          </p:cNvPr>
          <p:cNvSpPr txBox="1"/>
          <p:nvPr/>
        </p:nvSpPr>
        <p:spPr>
          <a:xfrm>
            <a:off x="9034294" y="3631350"/>
            <a:ext cx="1641984" cy="800187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Automated develop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A07B00-9C3C-0A0A-B689-9C6729FFD060}"/>
              </a:ext>
            </a:extLst>
          </p:cNvPr>
          <p:cNvSpPr txBox="1"/>
          <p:nvPr/>
        </p:nvSpPr>
        <p:spPr>
          <a:xfrm>
            <a:off x="9034294" y="4744648"/>
            <a:ext cx="1641984" cy="800187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Decision optimiz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0EE5490-6693-94CF-B9E2-30C4AA69BD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5772" y="3622338"/>
            <a:ext cx="915319" cy="81814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EF5FC2-A2DB-1F18-7732-B69A7218EA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9427" y="2604232"/>
            <a:ext cx="1008009" cy="81814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67655EC-D1AA-C05C-0BC6-1E3019EBF6BC}"/>
              </a:ext>
            </a:extLst>
          </p:cNvPr>
          <p:cNvSpPr txBox="1"/>
          <p:nvPr/>
        </p:nvSpPr>
        <p:spPr>
          <a:xfrm>
            <a:off x="2801779" y="2613244"/>
            <a:ext cx="1991897" cy="800187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Foundation model 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84BA6A-CF9A-8721-968B-B7D711C2029A}"/>
              </a:ext>
            </a:extLst>
          </p:cNvPr>
          <p:cNvSpPr txBox="1"/>
          <p:nvPr/>
        </p:nvSpPr>
        <p:spPr>
          <a:xfrm>
            <a:off x="2819260" y="3769832"/>
            <a:ext cx="1956934" cy="523188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Prompt Lab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D35C142-3D09-8CFB-E142-C3BAC8B7FB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1046" y="4718202"/>
            <a:ext cx="1264771" cy="85300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C70DCF5-3AE8-FA52-BBE5-857AA9B79D00}"/>
              </a:ext>
            </a:extLst>
          </p:cNvPr>
          <p:cNvSpPr txBox="1"/>
          <p:nvPr/>
        </p:nvSpPr>
        <p:spPr>
          <a:xfrm>
            <a:off x="2805468" y="4883130"/>
            <a:ext cx="1991897" cy="523188"/>
          </a:xfrm>
          <a:prstGeom prst="rect">
            <a:avLst/>
          </a:prstGeom>
          <a:noFill/>
        </p:spPr>
        <p:txBody>
          <a:bodyPr wrap="square" lIns="121904" tIns="121904" rIns="121904" bIns="121904" rtlCol="0">
            <a:spAutoFit/>
          </a:bodyPr>
          <a:lstStyle/>
          <a:p>
            <a:pPr marL="0" marR="0" lvl="0" indent="0" algn="l" defTabSz="914507" rtl="0" eaLnBrk="1" fontAlgn="auto" latinLnBrk="0" hangingPunct="1">
              <a:lnSpc>
                <a:spcPct val="100000"/>
              </a:lnSpc>
              <a:spcBef>
                <a:spcPts val="146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D62FE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Tuning Studio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D62FE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*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9E944D1-A003-F83D-4E25-7FC72C5CE8DD}"/>
              </a:ext>
            </a:extLst>
          </p:cNvPr>
          <p:cNvGrpSpPr/>
          <p:nvPr/>
        </p:nvGrpSpPr>
        <p:grpSpPr>
          <a:xfrm>
            <a:off x="2459287" y="5775510"/>
            <a:ext cx="7273426" cy="811598"/>
            <a:chOff x="5866992" y="11534046"/>
            <a:chExt cx="14548746" cy="162340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E016B3E-52D0-BD90-6084-529181E9AE0B}"/>
                </a:ext>
              </a:extLst>
            </p:cNvPr>
            <p:cNvSpPr txBox="1"/>
            <p:nvPr/>
          </p:nvSpPr>
          <p:spPr>
            <a:xfrm>
              <a:off x="8053754" y="12326815"/>
              <a:ext cx="0" cy="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12189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4ED9EB5-10D9-63AC-E2CE-4DC0F7A187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66992" y="11534046"/>
              <a:ext cx="2743255" cy="1623408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011F9F-3D27-77A3-ADF9-3F0381B39426}"/>
                </a:ext>
              </a:extLst>
            </p:cNvPr>
            <p:cNvSpPr txBox="1"/>
            <p:nvPr/>
          </p:nvSpPr>
          <p:spPr>
            <a:xfrm>
              <a:off x="8909192" y="11822530"/>
              <a:ext cx="11506546" cy="1046513"/>
            </a:xfrm>
            <a:prstGeom prst="rect">
              <a:avLst/>
            </a:prstGeom>
            <a:noFill/>
          </p:spPr>
          <p:txBody>
            <a:bodyPr wrap="square" lIns="121904" tIns="121904" rIns="121904" bIns="121904" rtlCol="0">
              <a:spAutoFit/>
            </a:bodyPr>
            <a:lstStyle/>
            <a:p>
              <a:pPr marL="0" marR="0" lvl="0" indent="0" algn="l" defTabSz="914507" rtl="0" eaLnBrk="1" fontAlgn="auto" latinLnBrk="0" hangingPunct="1">
                <a:lnSpc>
                  <a:spcPct val="100000"/>
                </a:lnSpc>
                <a:spcBef>
                  <a:spcPts val="14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Light"/>
                  <a:ea typeface="IBM Plex Sans" charset="0"/>
                  <a:cs typeface="IBM Plex Sans" charset="0"/>
                </a:rPr>
                <a:t>Team collaboration and data prepa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77235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E490C5B-4CA4-7261-D010-BB89CD5E12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E490C5B-4CA4-7261-D010-BB89CD5E1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0C4DA3C9-3A05-D844-F4B7-609780C0FE27}"/>
              </a:ext>
            </a:extLst>
          </p:cNvPr>
          <p:cNvSpPr txBox="1">
            <a:spLocks/>
          </p:cNvSpPr>
          <p:nvPr/>
        </p:nvSpPr>
        <p:spPr>
          <a:xfrm>
            <a:off x="365713" y="322698"/>
            <a:ext cx="10797658" cy="5624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18125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36250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54375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725002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91414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LLM and ML model lifecycle</a:t>
            </a:r>
            <a:endParaRPr kumimoji="0" lang="en-US" sz="29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8641B5-DCBE-31C5-BC52-AC31AE721B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747" y="1189655"/>
            <a:ext cx="5227897" cy="49705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6B61B1-9065-6802-8312-3A55920C3A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9295" y="1044476"/>
            <a:ext cx="5444610" cy="53592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DC59C33-8AED-5C73-8992-EED29C835931}"/>
              </a:ext>
            </a:extLst>
          </p:cNvPr>
          <p:cNvSpPr txBox="1"/>
          <p:nvPr/>
        </p:nvSpPr>
        <p:spPr>
          <a:xfrm>
            <a:off x="5030517" y="6147411"/>
            <a:ext cx="1914254" cy="4571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9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watsonx.ai</a:t>
            </a:r>
          </a:p>
        </p:txBody>
      </p:sp>
    </p:spTree>
    <p:extLst>
      <p:ext uri="{BB962C8B-B14F-4D97-AF65-F5344CB8AC3E}">
        <p14:creationId xmlns:p14="http://schemas.microsoft.com/office/powerpoint/2010/main" val="116665256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 descr="Horizontal quarter slide background in Gray 10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795" y="893"/>
            <a:ext cx="12190411" cy="906842"/>
          </a:xfrm>
          <a:prstGeom prst="rect">
            <a:avLst/>
          </a:prstGeom>
          <a:solidFill>
            <a:srgbClr val="F4F4F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9" tIns="45709" rIns="45709" bIns="45709" numCol="1" rtlCol="0" anchor="t" anchorCtr="0" compatLnSpc="1">
            <a:prstTxWarp prst="textNoShape">
              <a:avLst/>
            </a:prstTxWarp>
          </a:bodyPr>
          <a:lstStyle/>
          <a:p>
            <a:pPr defTabSz="457114"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756" y="288445"/>
            <a:ext cx="2241550" cy="762695"/>
          </a:xfrm>
        </p:spPr>
        <p:txBody>
          <a:bodyPr/>
          <a:lstStyle/>
          <a:p>
            <a:br>
              <a:rPr lang="en-US" sz="1866" dirty="0">
                <a:solidFill>
                  <a:schemeClr val="tx1"/>
                </a:solidFill>
              </a:rPr>
            </a:br>
            <a:br>
              <a:rPr lang="en-US" sz="1866" dirty="0">
                <a:solidFill>
                  <a:schemeClr val="tx1"/>
                </a:solidFill>
              </a:rPr>
            </a:br>
            <a:endParaRPr lang="en-US" sz="1866" dirty="0">
              <a:solidFill>
                <a:schemeClr val="tx1"/>
              </a:solidFill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246A47C7-456A-E348-59CC-E708D2DC01CD}"/>
              </a:ext>
            </a:extLst>
          </p:cNvPr>
          <p:cNvSpPr txBox="1">
            <a:spLocks/>
          </p:cNvSpPr>
          <p:nvPr/>
        </p:nvSpPr>
        <p:spPr>
          <a:xfrm>
            <a:off x="314152" y="249160"/>
            <a:ext cx="3643360" cy="7626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1218971"/>
            <a:r>
              <a:rPr lang="en-US" sz="2133" kern="0" dirty="0">
                <a:solidFill>
                  <a:srgbClr val="000000"/>
                </a:solidFill>
              </a:rPr>
              <a:t>Prompts</a:t>
            </a:r>
            <a:endParaRPr lang="en-US" sz="1866" kern="0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73EF958-983F-819A-DC94-424997490CF8}"/>
              </a:ext>
            </a:extLst>
          </p:cNvPr>
          <p:cNvSpPr txBox="1"/>
          <p:nvPr/>
        </p:nvSpPr>
        <p:spPr>
          <a:xfrm>
            <a:off x="3156438" y="5996354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algn="l" defTabSz="2438400">
              <a:spcBef>
                <a:spcPts val="2900"/>
              </a:spcBef>
              <a:buSzPct val="100000"/>
            </a:pPr>
            <a:endParaRPr lang="en-US" sz="800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A9D784-F8E6-92FF-2AF3-D615073690AA}"/>
              </a:ext>
            </a:extLst>
          </p:cNvPr>
          <p:cNvSpPr txBox="1"/>
          <p:nvPr/>
        </p:nvSpPr>
        <p:spPr>
          <a:xfrm>
            <a:off x="4273062" y="5987562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B351A7-1C08-E7DF-4C4C-613A296BCFE5}"/>
              </a:ext>
            </a:extLst>
          </p:cNvPr>
          <p:cNvSpPr txBox="1"/>
          <p:nvPr/>
        </p:nvSpPr>
        <p:spPr>
          <a:xfrm>
            <a:off x="807634" y="1982449"/>
            <a:ext cx="9997741" cy="424731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 algn="l"/>
            <a:r>
              <a:rPr lang="en-IN" b="1" i="0" u="sng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Types Of Prompts</a:t>
            </a:r>
          </a:p>
          <a:p>
            <a:pPr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Completions:</a:t>
            </a:r>
            <a:endParaRPr lang="en-IN" b="0" i="0" dirty="0">
              <a:solidFill>
                <a:srgbClr val="374151"/>
              </a:solidFill>
              <a:effectLst/>
              <a:latin typeface="IBM Plex Sans" panose="020B0503050203000203" pitchFamily="34" charset="0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Description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Completions involve providing a partial sentence or phrase and asking the model to complete it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Example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If the partial sentence is "The quick brown fox jumps over the", the model might complete it with "lazy dog."</a:t>
            </a:r>
          </a:p>
          <a:p>
            <a:pPr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Instructions:</a:t>
            </a:r>
            <a:endParaRPr lang="en-IN" b="0" i="0" dirty="0">
              <a:solidFill>
                <a:srgbClr val="374151"/>
              </a:solidFill>
              <a:effectLst/>
              <a:latin typeface="IBM Plex Sans" panose="020B0503050203000203" pitchFamily="34" charset="0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Description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Instructions are explicit commands or directives given to the model, instructing it on what kind of response is expected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Example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An instruction prompt could be "Translate the following English sentence into French: 'Hello, how are you?'"</a:t>
            </a:r>
          </a:p>
          <a:p>
            <a:pPr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Questions:</a:t>
            </a:r>
            <a:endParaRPr lang="en-IN" b="0" i="0" dirty="0">
              <a:solidFill>
                <a:srgbClr val="374151"/>
              </a:solidFill>
              <a:effectLst/>
              <a:latin typeface="IBM Plex Sans" panose="020B0503050203000203" pitchFamily="34" charset="0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Description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Questions prompt the model to provide an answer or response to a specific query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IN" b="1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Example:</a:t>
            </a:r>
            <a:r>
              <a:rPr lang="en-IN" b="0" i="0" dirty="0">
                <a:solidFill>
                  <a:srgbClr val="374151"/>
                </a:solidFill>
                <a:effectLst/>
                <a:latin typeface="IBM Plex Sans" panose="020B0503050203000203" pitchFamily="34" charset="0"/>
              </a:rPr>
              <a:t> "What is the capital city of France?"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C2FA6A-3381-7B89-4F6F-9E103FD24192}"/>
              </a:ext>
            </a:extLst>
          </p:cNvPr>
          <p:cNvSpPr txBox="1"/>
          <p:nvPr/>
        </p:nvSpPr>
        <p:spPr>
          <a:xfrm>
            <a:off x="914399" y="1090425"/>
            <a:ext cx="9774533" cy="14350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algn="l" defTabSz="2438400">
              <a:spcBef>
                <a:spcPts val="2900"/>
              </a:spcBef>
              <a:buSzPct val="100000"/>
            </a:pPr>
            <a:r>
              <a:rPr lang="en-US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Prompt is a mode of interaction between human and LLM which enables model to generate output. It can be in various forms like text, questions, code examples etc.,</a:t>
            </a:r>
          </a:p>
        </p:txBody>
      </p:sp>
    </p:spTree>
    <p:extLst>
      <p:ext uri="{BB962C8B-B14F-4D97-AF65-F5344CB8AC3E}">
        <p14:creationId xmlns:p14="http://schemas.microsoft.com/office/powerpoint/2010/main" val="81808759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F1C83A-0F5A-4378-E1FF-0530A74F1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43787" y="6469420"/>
            <a:ext cx="60914" cy="123111"/>
          </a:xfrm>
        </p:spPr>
        <p:txBody>
          <a:bodyPr/>
          <a:lstStyle/>
          <a:p>
            <a:fld id="{86CB4B4D-7CA3-9044-876B-883B54F8677D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DDCA27-D94A-BA58-4CAF-11EE106D6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pt Guidelin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135DC9-718C-FDF4-440F-8B4126A278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 2023 IBM Corpor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C2BCF0-8207-9F17-5406-AEBE75FB8E19}"/>
              </a:ext>
            </a:extLst>
          </p:cNvPr>
          <p:cNvSpPr txBox="1"/>
          <p:nvPr/>
        </p:nvSpPr>
        <p:spPr>
          <a:xfrm>
            <a:off x="2165975" y="2340570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222188" indent="-223330" defTabSz="1218956">
              <a:spcBef>
                <a:spcPts val="1450"/>
              </a:spcBef>
              <a:buSzPct val="100000"/>
              <a:buFontTx/>
              <a:buChar char="–"/>
            </a:pPr>
            <a:endParaRPr lang="en-US" sz="900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7A73F8-4E5B-E287-D250-1927D1A08BE4}"/>
              </a:ext>
            </a:extLst>
          </p:cNvPr>
          <p:cNvSpPr txBox="1"/>
          <p:nvPr/>
        </p:nvSpPr>
        <p:spPr>
          <a:xfrm>
            <a:off x="772785" y="2035810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222188" indent="-223330" defTabSz="1218956">
              <a:spcBef>
                <a:spcPts val="1450"/>
              </a:spcBef>
              <a:buSzPct val="100000"/>
              <a:buFontTx/>
              <a:buChar char="–"/>
            </a:pPr>
            <a:endParaRPr lang="en-US" sz="900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C92ECE7E-4AB0-56CC-C104-77A651AA0DD9}"/>
              </a:ext>
            </a:extLst>
          </p:cNvPr>
          <p:cNvGraphicFramePr/>
          <p:nvPr/>
        </p:nvGraphicFramePr>
        <p:xfrm>
          <a:off x="1868736" y="983064"/>
          <a:ext cx="8128000" cy="5418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6560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37641A-B4B7-7222-3476-D7B853B78B5A}"/>
              </a:ext>
            </a:extLst>
          </p:cNvPr>
          <p:cNvSpPr/>
          <p:nvPr/>
        </p:nvSpPr>
        <p:spPr bwMode="auto">
          <a:xfrm>
            <a:off x="1" y="-623"/>
            <a:ext cx="12190412" cy="1104369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defTabSz="45709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67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9223" name="Title 1"/>
          <p:cNvSpPr txBox="1">
            <a:spLocks noGrp="1"/>
          </p:cNvSpPr>
          <p:nvPr>
            <p:ph type="title"/>
          </p:nvPr>
        </p:nvSpPr>
        <p:spPr>
          <a:xfrm>
            <a:off x="223423" y="479233"/>
            <a:ext cx="11267509" cy="516640"/>
          </a:xfrm>
          <a:prstGeom prst="rect">
            <a:avLst/>
          </a:prstGeom>
        </p:spPr>
        <p:txBody>
          <a:bodyPr/>
          <a:lstStyle/>
          <a:p>
            <a:pPr>
              <a:defRPr sz="2000">
                <a:solidFill>
                  <a:srgbClr val="1D1C1D"/>
                </a:solidFill>
              </a:defRPr>
            </a:pPr>
            <a:r>
              <a:rPr dirty="0"/>
              <a:t>Take advantage of </a:t>
            </a:r>
            <a:r>
              <a:rPr dirty="0">
                <a:solidFill>
                  <a:srgbClr val="000000"/>
                </a:solidFill>
              </a:rPr>
              <a:t>both traditional and Next-Gen AI Models in </a:t>
            </a:r>
            <a:r>
              <a:rPr dirty="0"/>
              <a:t>watson</a:t>
            </a:r>
            <a:r>
              <a:rPr dirty="0">
                <a:solidFill>
                  <a:schemeClr val="accent2"/>
                </a:solidFill>
              </a:rPr>
              <a:t>x</a:t>
            </a:r>
            <a:r>
              <a:rPr dirty="0"/>
              <a:t>.ai</a:t>
            </a:r>
            <a:r>
              <a:rPr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224" name="Title 1"/>
          <p:cNvSpPr txBox="1"/>
          <p:nvPr/>
        </p:nvSpPr>
        <p:spPr>
          <a:xfrm>
            <a:off x="250055" y="262299"/>
            <a:ext cx="2091399" cy="1642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685809">
              <a:spcBef>
                <a:spcPts val="10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389" hangingPunct="0">
              <a:spcBef>
                <a:spcPts val="1333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Architecture model</a:t>
            </a:r>
          </a:p>
        </p:txBody>
      </p:sp>
      <p:sp>
        <p:nvSpPr>
          <p:cNvPr id="9225" name="Traditional AI"/>
          <p:cNvSpPr txBox="1"/>
          <p:nvPr/>
        </p:nvSpPr>
        <p:spPr>
          <a:xfrm>
            <a:off x="1120326" y="1215835"/>
            <a:ext cx="1048685" cy="4104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spcBef>
                <a:spcPts val="1100"/>
              </a:spcBef>
              <a:defRPr sz="800">
                <a:solidFill>
                  <a:srgbClr val="000000"/>
                </a:solidFill>
                <a:latin typeface="IBM Plex Sans Medm"/>
                <a:ea typeface="IBM Plex Sans Medm"/>
                <a:cs typeface="IBM Plex Sans Medm"/>
                <a:sym typeface="IBM Plex Sans Medium"/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/>
              <a:t>Traditional AI</a:t>
            </a:r>
          </a:p>
        </p:txBody>
      </p:sp>
      <p:sp>
        <p:nvSpPr>
          <p:cNvPr id="9226" name="Supports both conventional NLP tasks and new human + AI, iterative workflows"/>
          <p:cNvSpPr txBox="1"/>
          <p:nvPr/>
        </p:nvSpPr>
        <p:spPr>
          <a:xfrm>
            <a:off x="5427119" y="5803479"/>
            <a:ext cx="5182829" cy="4104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spcBef>
                <a:spcPts val="1100"/>
              </a:spcBef>
              <a:defRPr sz="800">
                <a:solidFill>
                  <a:srgbClr val="000000"/>
                </a:solidFill>
                <a:latin typeface="IBM Plex Sans Medm"/>
                <a:ea typeface="IBM Plex Sans Medm"/>
                <a:cs typeface="IBM Plex Sans Medm"/>
                <a:sym typeface="IBM Plex Sans Medium"/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/>
              <a:t>Supports both conventional NLP tasks and new human + AI, iterative workflows</a:t>
            </a:r>
          </a:p>
        </p:txBody>
      </p:sp>
      <p:sp>
        <p:nvSpPr>
          <p:cNvPr id="9227" name="1000s — 1000000s labeled data points / task"/>
          <p:cNvSpPr txBox="1"/>
          <p:nvPr/>
        </p:nvSpPr>
        <p:spPr>
          <a:xfrm>
            <a:off x="191877" y="2526414"/>
            <a:ext cx="2997552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1000s — 1000000s labeled data points / task</a:t>
            </a:r>
          </a:p>
        </p:txBody>
      </p:sp>
      <p:sp>
        <p:nvSpPr>
          <p:cNvPr id="9228" name="Zero-shot Prompting"/>
          <p:cNvSpPr txBox="1"/>
          <p:nvPr/>
        </p:nvSpPr>
        <p:spPr>
          <a:xfrm>
            <a:off x="4260848" y="1930792"/>
            <a:ext cx="1444626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Zero-shot Prompting</a:t>
            </a:r>
          </a:p>
        </p:txBody>
      </p:sp>
      <p:sp>
        <p:nvSpPr>
          <p:cNvPr id="9229" name="Few-shot Prompting"/>
          <p:cNvSpPr txBox="1"/>
          <p:nvPr/>
        </p:nvSpPr>
        <p:spPr>
          <a:xfrm>
            <a:off x="7046836" y="1930792"/>
            <a:ext cx="1420582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Few-shot Prompting</a:t>
            </a:r>
          </a:p>
        </p:txBody>
      </p:sp>
      <p:sp>
        <p:nvSpPr>
          <p:cNvPr id="9230" name="Data-driven Tuning"/>
          <p:cNvSpPr txBox="1"/>
          <p:nvPr/>
        </p:nvSpPr>
        <p:spPr>
          <a:xfrm>
            <a:off x="9995986" y="1930792"/>
            <a:ext cx="1343638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Data-driven Tuning</a:t>
            </a:r>
          </a:p>
        </p:txBody>
      </p:sp>
      <p:sp>
        <p:nvSpPr>
          <p:cNvPr id="9231" name="No labeled data needed"/>
          <p:cNvSpPr txBox="1"/>
          <p:nvPr/>
        </p:nvSpPr>
        <p:spPr>
          <a:xfrm>
            <a:off x="4168596" y="2541751"/>
            <a:ext cx="1627369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No labeled data needed</a:t>
            </a:r>
          </a:p>
        </p:txBody>
      </p:sp>
      <p:sp>
        <p:nvSpPr>
          <p:cNvPr id="9232" name="Line"/>
          <p:cNvSpPr/>
          <p:nvPr/>
        </p:nvSpPr>
        <p:spPr>
          <a:xfrm>
            <a:off x="3400727" y="2300632"/>
            <a:ext cx="8770027" cy="1"/>
          </a:xfrm>
          <a:prstGeom prst="line">
            <a:avLst/>
          </a:prstGeom>
          <a:ln w="6350">
            <a:solidFill>
              <a:schemeClr val="accent5">
                <a:lumOff val="-17568"/>
              </a:schemeClr>
            </a:solidFill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33" name="1-10 labeled data points / task"/>
          <p:cNvSpPr txBox="1"/>
          <p:nvPr/>
        </p:nvSpPr>
        <p:spPr>
          <a:xfrm>
            <a:off x="6736517" y="2541751"/>
            <a:ext cx="2044149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1-10 labeled data points / task</a:t>
            </a:r>
          </a:p>
        </p:txBody>
      </p:sp>
      <p:sp>
        <p:nvSpPr>
          <p:cNvPr id="9234" name="100s - 1000s labeled data points / task"/>
          <p:cNvSpPr txBox="1"/>
          <p:nvPr/>
        </p:nvSpPr>
        <p:spPr>
          <a:xfrm>
            <a:off x="9410431" y="2541751"/>
            <a:ext cx="2566728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100s - 1000s labeled data points / task</a:t>
            </a:r>
          </a:p>
        </p:txBody>
      </p:sp>
      <p:sp>
        <p:nvSpPr>
          <p:cNvPr id="9235" name="Line"/>
          <p:cNvSpPr/>
          <p:nvPr/>
        </p:nvSpPr>
        <p:spPr>
          <a:xfrm flipH="1">
            <a:off x="3410001" y="1103927"/>
            <a:ext cx="1" cy="5147743"/>
          </a:xfrm>
          <a:prstGeom prst="line">
            <a:avLst/>
          </a:prstGeom>
          <a:ln w="6350">
            <a:solidFill>
              <a:schemeClr val="accent5">
                <a:lumOff val="-17568"/>
              </a:schemeClr>
            </a:solidFill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36" name="Rounded Rectangle"/>
          <p:cNvSpPr/>
          <p:nvPr/>
        </p:nvSpPr>
        <p:spPr>
          <a:xfrm>
            <a:off x="511432" y="3002207"/>
            <a:ext cx="948496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37" name="Task"/>
          <p:cNvSpPr txBox="1"/>
          <p:nvPr/>
        </p:nvSpPr>
        <p:spPr>
          <a:xfrm>
            <a:off x="735616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38" name="Rounded Rectangle"/>
          <p:cNvSpPr/>
          <p:nvPr/>
        </p:nvSpPr>
        <p:spPr>
          <a:xfrm>
            <a:off x="1738535" y="3002207"/>
            <a:ext cx="948496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39" name="Task"/>
          <p:cNvSpPr txBox="1"/>
          <p:nvPr/>
        </p:nvSpPr>
        <p:spPr>
          <a:xfrm>
            <a:off x="1962719" y="3131119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40" name="Line"/>
          <p:cNvSpPr/>
          <p:nvPr/>
        </p:nvSpPr>
        <p:spPr>
          <a:xfrm flipV="1">
            <a:off x="985680" y="3590721"/>
            <a:ext cx="1" cy="191531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1" name="Rectangle"/>
          <p:cNvSpPr/>
          <p:nvPr/>
        </p:nvSpPr>
        <p:spPr>
          <a:xfrm>
            <a:off x="511432" y="3784819"/>
            <a:ext cx="948496" cy="450045"/>
          </a:xfrm>
          <a:prstGeom prst="roundRect">
            <a:avLst>
              <a:gd name="adj" fmla="val 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2" name="Model"/>
          <p:cNvSpPr txBox="1"/>
          <p:nvPr/>
        </p:nvSpPr>
        <p:spPr>
          <a:xfrm>
            <a:off x="667883" y="3913731"/>
            <a:ext cx="559769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Model</a:t>
            </a:r>
          </a:p>
        </p:txBody>
      </p:sp>
      <p:sp>
        <p:nvSpPr>
          <p:cNvPr id="9243" name="Rectangle"/>
          <p:cNvSpPr/>
          <p:nvPr/>
        </p:nvSpPr>
        <p:spPr>
          <a:xfrm>
            <a:off x="1738535" y="3784819"/>
            <a:ext cx="948496" cy="450045"/>
          </a:xfrm>
          <a:prstGeom prst="roundRect">
            <a:avLst>
              <a:gd name="adj" fmla="val 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4" name="Model"/>
          <p:cNvSpPr txBox="1"/>
          <p:nvPr/>
        </p:nvSpPr>
        <p:spPr>
          <a:xfrm>
            <a:off x="1894986" y="3913731"/>
            <a:ext cx="559769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Model</a:t>
            </a:r>
          </a:p>
        </p:txBody>
      </p:sp>
      <p:sp>
        <p:nvSpPr>
          <p:cNvPr id="9245" name="Line"/>
          <p:cNvSpPr/>
          <p:nvPr/>
        </p:nvSpPr>
        <p:spPr>
          <a:xfrm flipV="1">
            <a:off x="4400221" y="3668542"/>
            <a:ext cx="1" cy="996973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6" name="Line"/>
          <p:cNvSpPr/>
          <p:nvPr/>
        </p:nvSpPr>
        <p:spPr>
          <a:xfrm flipV="1">
            <a:off x="2212782" y="4373841"/>
            <a:ext cx="1" cy="296996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7" name="Rectangle"/>
          <p:cNvSpPr/>
          <p:nvPr/>
        </p:nvSpPr>
        <p:spPr>
          <a:xfrm>
            <a:off x="511432" y="4663328"/>
            <a:ext cx="948496" cy="1103809"/>
          </a:xfrm>
          <a:prstGeom prst="roundRect">
            <a:avLst>
              <a:gd name="adj" fmla="val 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48" name="Labeled…"/>
          <p:cNvSpPr txBox="1"/>
          <p:nvPr/>
        </p:nvSpPr>
        <p:spPr>
          <a:xfrm>
            <a:off x="648089" y="4895602"/>
            <a:ext cx="675185" cy="7559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/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Labeled</a:t>
            </a:r>
          </a:p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raining</a:t>
            </a:r>
          </a:p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Data</a:t>
            </a:r>
          </a:p>
        </p:txBody>
      </p:sp>
      <p:sp>
        <p:nvSpPr>
          <p:cNvPr id="9249" name="Rectangle"/>
          <p:cNvSpPr/>
          <p:nvPr/>
        </p:nvSpPr>
        <p:spPr>
          <a:xfrm>
            <a:off x="1759532" y="4663328"/>
            <a:ext cx="948496" cy="1103809"/>
          </a:xfrm>
          <a:prstGeom prst="roundRect">
            <a:avLst>
              <a:gd name="adj" fmla="val 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0" name="Labeled…"/>
          <p:cNvSpPr txBox="1"/>
          <p:nvPr/>
        </p:nvSpPr>
        <p:spPr>
          <a:xfrm>
            <a:off x="1896188" y="4895602"/>
            <a:ext cx="675185" cy="7559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/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Labeled</a:t>
            </a:r>
          </a:p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raining</a:t>
            </a:r>
          </a:p>
          <a:p>
            <a:pPr algn="ctr" defTabSz="914620" hangingPunct="0">
              <a:lnSpc>
                <a:spcPct val="20000"/>
              </a:lnSpc>
              <a:spcBef>
                <a:spcPts val="1467"/>
              </a:spcBef>
              <a:defRPr sz="800">
                <a:solidFill>
                  <a:srgbClr val="000000"/>
                </a:solidFill>
              </a:defRPr>
            </a:pPr>
            <a:r>
              <a:rPr sz="10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Data</a:t>
            </a:r>
          </a:p>
        </p:txBody>
      </p:sp>
      <p:sp>
        <p:nvSpPr>
          <p:cNvPr id="9251" name="Line"/>
          <p:cNvSpPr/>
          <p:nvPr/>
        </p:nvSpPr>
        <p:spPr>
          <a:xfrm flipV="1">
            <a:off x="2233780" y="3590721"/>
            <a:ext cx="1" cy="191531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2" name="Rectangle"/>
          <p:cNvSpPr/>
          <p:nvPr/>
        </p:nvSpPr>
        <p:spPr>
          <a:xfrm>
            <a:off x="3830145" y="4660762"/>
            <a:ext cx="8160707" cy="1103809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miter lim="400000"/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3" name="Rectangle"/>
          <p:cNvSpPr/>
          <p:nvPr/>
        </p:nvSpPr>
        <p:spPr>
          <a:xfrm>
            <a:off x="6284361" y="4290385"/>
            <a:ext cx="2844704" cy="380155"/>
          </a:xfrm>
          <a:prstGeom prst="roundRect">
            <a:avLst>
              <a:gd name="adj" fmla="val 0"/>
            </a:avLst>
          </a:prstGeom>
          <a:solidFill>
            <a:schemeClr val="accent2">
              <a:lumOff val="23627"/>
            </a:schemeClr>
          </a:solidFill>
          <a:ln w="12700">
            <a:miter lim="400000"/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latin typeface="IBM Plex Sans Light"/>
              <a:sym typeface="IBM Plex Sans Light"/>
            </a:endParaRPr>
          </a:p>
        </p:txBody>
      </p:sp>
      <p:sp>
        <p:nvSpPr>
          <p:cNvPr id="9254" name="Rounded Rectangle"/>
          <p:cNvSpPr/>
          <p:nvPr/>
        </p:nvSpPr>
        <p:spPr>
          <a:xfrm>
            <a:off x="3925973" y="3002207"/>
            <a:ext cx="948496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5" name="Task"/>
          <p:cNvSpPr txBox="1"/>
          <p:nvPr/>
        </p:nvSpPr>
        <p:spPr>
          <a:xfrm>
            <a:off x="4150157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56" name="Rounded Rectangle"/>
          <p:cNvSpPr/>
          <p:nvPr/>
        </p:nvSpPr>
        <p:spPr>
          <a:xfrm>
            <a:off x="5153076" y="3002207"/>
            <a:ext cx="948497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7" name="Task"/>
          <p:cNvSpPr txBox="1"/>
          <p:nvPr/>
        </p:nvSpPr>
        <p:spPr>
          <a:xfrm>
            <a:off x="5377260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58" name="Rounded Rectangle"/>
          <p:cNvSpPr/>
          <p:nvPr/>
        </p:nvSpPr>
        <p:spPr>
          <a:xfrm>
            <a:off x="6697941" y="3002207"/>
            <a:ext cx="948497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59" name="Task"/>
          <p:cNvSpPr txBox="1"/>
          <p:nvPr/>
        </p:nvSpPr>
        <p:spPr>
          <a:xfrm>
            <a:off x="6922125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60" name="Rounded Rectangle"/>
          <p:cNvSpPr/>
          <p:nvPr/>
        </p:nvSpPr>
        <p:spPr>
          <a:xfrm>
            <a:off x="7925044" y="3002207"/>
            <a:ext cx="948497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61" name="Task"/>
          <p:cNvSpPr txBox="1"/>
          <p:nvPr/>
        </p:nvSpPr>
        <p:spPr>
          <a:xfrm>
            <a:off x="8149227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62" name="Rounded Rectangle"/>
          <p:cNvSpPr/>
          <p:nvPr/>
        </p:nvSpPr>
        <p:spPr>
          <a:xfrm>
            <a:off x="9608956" y="3002207"/>
            <a:ext cx="948497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63" name="Task"/>
          <p:cNvSpPr txBox="1"/>
          <p:nvPr/>
        </p:nvSpPr>
        <p:spPr>
          <a:xfrm>
            <a:off x="9833140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64" name="Rounded Rectangle"/>
          <p:cNvSpPr/>
          <p:nvPr/>
        </p:nvSpPr>
        <p:spPr>
          <a:xfrm>
            <a:off x="10836058" y="3002207"/>
            <a:ext cx="948497" cy="450045"/>
          </a:xfrm>
          <a:prstGeom prst="roundRect">
            <a:avLst>
              <a:gd name="adj" fmla="val 50000"/>
            </a:avLst>
          </a:prstGeom>
          <a:ln>
            <a:solidFill>
              <a:schemeClr val="accent5">
                <a:lumOff val="-17568"/>
              </a:schemeClr>
            </a:solidFill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65" name="Task"/>
          <p:cNvSpPr txBox="1"/>
          <p:nvPr/>
        </p:nvSpPr>
        <p:spPr>
          <a:xfrm>
            <a:off x="11060241" y="3131120"/>
            <a:ext cx="470000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lnSpc>
                <a:spcPct val="20000"/>
              </a:lnSpc>
              <a:spcBef>
                <a:spcPts val="1100"/>
              </a:spcBef>
              <a:defRPr sz="800">
                <a:solidFill>
                  <a:srgbClr val="000000"/>
                </a:solidFill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latin typeface="IBM Plex Sans Light"/>
                <a:sym typeface="IBM Plex Sans Light"/>
              </a:rPr>
              <a:t>Task</a:t>
            </a:r>
          </a:p>
        </p:txBody>
      </p:sp>
      <p:sp>
        <p:nvSpPr>
          <p:cNvPr id="9266" name="Line"/>
          <p:cNvSpPr/>
          <p:nvPr/>
        </p:nvSpPr>
        <p:spPr>
          <a:xfrm flipV="1">
            <a:off x="5628057" y="3668542"/>
            <a:ext cx="1" cy="996973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67" name="Pre-Trained Foundation model"/>
          <p:cNvSpPr txBox="1"/>
          <p:nvPr/>
        </p:nvSpPr>
        <p:spPr>
          <a:xfrm>
            <a:off x="5728932" y="5161664"/>
            <a:ext cx="4586512" cy="3871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 anchor="b">
            <a:spAutoFit/>
          </a:bodyPr>
          <a:lstStyle>
            <a:lvl1pPr algn="ctr">
              <a:lnSpc>
                <a:spcPct val="20000"/>
              </a:lnSpc>
              <a:spcBef>
                <a:spcPts val="1100"/>
              </a:spcBef>
              <a:defRPr sz="1900"/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2533" kern="0">
                <a:solidFill>
                  <a:srgbClr val="FFFFFF"/>
                </a:solidFill>
                <a:latin typeface="IBM Plex Sans Light"/>
                <a:sym typeface="IBM Plex Sans Light"/>
              </a:rPr>
              <a:t>Pre-Trained Foundation model</a:t>
            </a:r>
          </a:p>
        </p:txBody>
      </p:sp>
      <p:sp>
        <p:nvSpPr>
          <p:cNvPr id="9268" name="Rectangle"/>
          <p:cNvSpPr/>
          <p:nvPr/>
        </p:nvSpPr>
        <p:spPr>
          <a:xfrm>
            <a:off x="9122834" y="4009809"/>
            <a:ext cx="2869345" cy="660732"/>
          </a:xfrm>
          <a:prstGeom prst="rect">
            <a:avLst/>
          </a:prstGeom>
          <a:solidFill>
            <a:schemeClr val="accent1">
              <a:lumOff val="-6117"/>
            </a:schemeClr>
          </a:solidFill>
          <a:ln w="12700">
            <a:miter lim="400000"/>
          </a:ln>
        </p:spPr>
        <p:txBody>
          <a:bodyPr tIns="121919" bIns="121919"/>
          <a:lstStyle/>
          <a:p>
            <a:pPr defTabSz="914620" hangingPunct="0">
              <a:defRPr/>
            </a:pPr>
            <a:endParaRPr sz="1733" kern="0">
              <a:solidFill>
                <a:srgbClr val="FFFFFF"/>
              </a:solidFill>
              <a:latin typeface="IBM Plex Sans Light"/>
              <a:sym typeface="IBM Plex Sans Light"/>
            </a:endParaRPr>
          </a:p>
        </p:txBody>
      </p:sp>
      <p:sp>
        <p:nvSpPr>
          <p:cNvPr id="9269" name="Handcraft examples"/>
          <p:cNvSpPr txBox="1"/>
          <p:nvPr/>
        </p:nvSpPr>
        <p:spPr>
          <a:xfrm>
            <a:off x="7004437" y="4387097"/>
            <a:ext cx="1404551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 anchor="b">
            <a:spAutoFit/>
          </a:bodyPr>
          <a:lstStyle>
            <a:lvl1pPr algn="ctr">
              <a:lnSpc>
                <a:spcPct val="20000"/>
              </a:lnSpc>
              <a:spcBef>
                <a:spcPts val="1100"/>
              </a:spcBef>
              <a:defRPr sz="800"/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 dirty="0">
                <a:latin typeface="IBM Plex Sans Light"/>
                <a:sym typeface="IBM Plex Sans Light"/>
              </a:rPr>
              <a:t>Handcraft examples</a:t>
            </a:r>
          </a:p>
        </p:txBody>
      </p:sp>
      <p:sp>
        <p:nvSpPr>
          <p:cNvPr id="9270" name="Labeled Tuning data"/>
          <p:cNvSpPr txBox="1"/>
          <p:nvPr/>
        </p:nvSpPr>
        <p:spPr>
          <a:xfrm>
            <a:off x="9851225" y="4238188"/>
            <a:ext cx="1412566" cy="305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 anchor="b">
            <a:spAutoFit/>
          </a:bodyPr>
          <a:lstStyle>
            <a:lvl1pPr algn="ctr">
              <a:lnSpc>
                <a:spcPct val="20000"/>
              </a:lnSpc>
              <a:spcBef>
                <a:spcPts val="1100"/>
              </a:spcBef>
              <a:defRPr sz="800"/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>
                <a:solidFill>
                  <a:srgbClr val="FFFFFF"/>
                </a:solidFill>
                <a:latin typeface="IBM Plex Sans Light"/>
                <a:sym typeface="IBM Plex Sans Light"/>
              </a:rPr>
              <a:t>Labeled Tuning data</a:t>
            </a:r>
          </a:p>
        </p:txBody>
      </p:sp>
      <p:sp>
        <p:nvSpPr>
          <p:cNvPr id="9271" name="Line"/>
          <p:cNvSpPr/>
          <p:nvPr/>
        </p:nvSpPr>
        <p:spPr>
          <a:xfrm flipV="1">
            <a:off x="7171822" y="3676300"/>
            <a:ext cx="1" cy="611808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2" name="Line"/>
          <p:cNvSpPr/>
          <p:nvPr/>
        </p:nvSpPr>
        <p:spPr>
          <a:xfrm flipV="1">
            <a:off x="8399658" y="3676300"/>
            <a:ext cx="1" cy="611808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3" name="Line"/>
          <p:cNvSpPr/>
          <p:nvPr/>
        </p:nvSpPr>
        <p:spPr>
          <a:xfrm flipV="1">
            <a:off x="10083204" y="3676300"/>
            <a:ext cx="1" cy="333541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4" name="Line"/>
          <p:cNvSpPr/>
          <p:nvPr/>
        </p:nvSpPr>
        <p:spPr>
          <a:xfrm flipV="1">
            <a:off x="11310306" y="3676300"/>
            <a:ext cx="1" cy="333541"/>
          </a:xfrm>
          <a:prstGeom prst="line">
            <a:avLst/>
          </a:prstGeom>
          <a:ln>
            <a:solidFill>
              <a:schemeClr val="accent5">
                <a:lumOff val="-17568"/>
              </a:schemeClr>
            </a:solidFill>
            <a:tailEnd type="arrow"/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5" name="Generative AI"/>
          <p:cNvSpPr txBox="1"/>
          <p:nvPr/>
        </p:nvSpPr>
        <p:spPr>
          <a:xfrm>
            <a:off x="7154009" y="1215835"/>
            <a:ext cx="1053494" cy="4104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121919" bIns="121919">
            <a:spAutoFit/>
          </a:bodyPr>
          <a:lstStyle>
            <a:lvl1pPr>
              <a:spcBef>
                <a:spcPts val="1100"/>
              </a:spcBef>
              <a:defRPr sz="800">
                <a:solidFill>
                  <a:srgbClr val="000000"/>
                </a:solidFill>
                <a:latin typeface="IBM Plex Sans Medm"/>
                <a:ea typeface="IBM Plex Sans Medm"/>
                <a:cs typeface="IBM Plex Sans Medm"/>
                <a:sym typeface="IBM Plex Sans Medium"/>
              </a:defRPr>
            </a:lvl1pPr>
          </a:lstStyle>
          <a:p>
            <a:pPr defTabSz="914620" hangingPunct="0">
              <a:spcBef>
                <a:spcPts val="1467"/>
              </a:spcBef>
              <a:defRPr/>
            </a:pPr>
            <a:r>
              <a:rPr sz="1067" kern="0"/>
              <a:t>Generative AI</a:t>
            </a:r>
          </a:p>
        </p:txBody>
      </p:sp>
      <p:sp>
        <p:nvSpPr>
          <p:cNvPr id="9277" name="Line"/>
          <p:cNvSpPr/>
          <p:nvPr/>
        </p:nvSpPr>
        <p:spPr>
          <a:xfrm>
            <a:off x="-928" y="1105854"/>
            <a:ext cx="12193856" cy="1"/>
          </a:xfrm>
          <a:prstGeom prst="line">
            <a:avLst/>
          </a:prstGeom>
          <a:ln w="6350">
            <a:solidFill>
              <a:schemeClr val="accent5">
                <a:lumOff val="-17568"/>
              </a:schemeClr>
            </a:solidFill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8" name="Line"/>
          <p:cNvSpPr/>
          <p:nvPr/>
        </p:nvSpPr>
        <p:spPr>
          <a:xfrm>
            <a:off x="-928" y="6249744"/>
            <a:ext cx="12193856" cy="1"/>
          </a:xfrm>
          <a:prstGeom prst="line">
            <a:avLst/>
          </a:prstGeom>
          <a:ln w="6350">
            <a:solidFill>
              <a:schemeClr val="accent5">
                <a:lumOff val="-17568"/>
              </a:schemeClr>
            </a:solidFill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9279" name="Line"/>
          <p:cNvSpPr/>
          <p:nvPr/>
        </p:nvSpPr>
        <p:spPr>
          <a:xfrm>
            <a:off x="-928" y="1721905"/>
            <a:ext cx="12193856" cy="1"/>
          </a:xfrm>
          <a:prstGeom prst="line">
            <a:avLst/>
          </a:prstGeom>
          <a:ln w="6350">
            <a:solidFill>
              <a:schemeClr val="accent5">
                <a:lumOff val="-17568"/>
              </a:schemeClr>
            </a:solidFill>
          </a:ln>
        </p:spPr>
        <p:txBody>
          <a:bodyPr lIns="60959" rIns="60959"/>
          <a:lstStyle/>
          <a:p>
            <a:pPr defTabSz="914620" hangingPunct="0">
              <a:defRPr>
                <a:solidFill>
                  <a:srgbClr val="000000"/>
                </a:solidFill>
              </a:defRPr>
            </a:pPr>
            <a:endParaRPr sz="1733" kern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A5FDB2-79D3-6088-1CD1-2CA2741E9CAD}"/>
              </a:ext>
            </a:extLst>
          </p:cNvPr>
          <p:cNvSpPr txBox="1">
            <a:spLocks/>
          </p:cNvSpPr>
          <p:nvPr/>
        </p:nvSpPr>
        <p:spPr>
          <a:xfrm>
            <a:off x="273692" y="1903317"/>
            <a:ext cx="2144216" cy="5677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kern="0" dirty="0"/>
              <a:t>Interactive prompt builder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87C95D4-C291-E1C5-D30C-9755F163E80B}"/>
              </a:ext>
            </a:extLst>
          </p:cNvPr>
          <p:cNvSpPr txBox="1">
            <a:spLocks/>
          </p:cNvSpPr>
          <p:nvPr/>
        </p:nvSpPr>
        <p:spPr>
          <a:xfrm>
            <a:off x="288888" y="2695169"/>
            <a:ext cx="2366565" cy="33028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4" indent="-228554" defTabSz="914217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/>
              <a:t>Includes prompt examples for various </a:t>
            </a:r>
            <a:br>
              <a:rPr lang="en-US" sz="1400" kern="0" dirty="0"/>
            </a:br>
            <a:r>
              <a:rPr lang="en-US" sz="1400" kern="0" dirty="0"/>
              <a:t>use cases and tasks </a:t>
            </a:r>
          </a:p>
          <a:p>
            <a:pPr marL="228554" indent="-228554" defTabSz="914217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/>
          </a:p>
          <a:p>
            <a:pPr marL="228554" indent="-228554" defTabSz="914217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/>
              <a:t>Experiment with different prompts, save and reuse older prompts, use </a:t>
            </a:r>
            <a:br>
              <a:rPr lang="en-US" sz="1400" kern="0" dirty="0"/>
            </a:br>
            <a:r>
              <a:rPr lang="en-US" sz="1400" kern="0" dirty="0"/>
              <a:t>different models, and vary different parameters  </a:t>
            </a:r>
          </a:p>
          <a:p>
            <a:pPr marL="228554" indent="-228554" defTabSz="914217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400" kern="0" dirty="0"/>
          </a:p>
          <a:p>
            <a:pPr marL="228554" indent="-228554" defTabSz="914217" fontAlgn="base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/>
              <a:t>Experiment with zero-shot, one-shot, or few-shot prompting to get </a:t>
            </a:r>
            <a:br>
              <a:rPr lang="en-US" sz="1400" kern="0" dirty="0"/>
            </a:br>
            <a:r>
              <a:rPr lang="en-US" sz="1400" kern="0" dirty="0"/>
              <a:t>the best result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05CEA6E-E952-B911-47B5-82E1FD4A0861}"/>
              </a:ext>
            </a:extLst>
          </p:cNvPr>
          <p:cNvSpPr txBox="1">
            <a:spLocks/>
          </p:cNvSpPr>
          <p:nvPr/>
        </p:nvSpPr>
        <p:spPr>
          <a:xfrm>
            <a:off x="3047604" y="1872575"/>
            <a:ext cx="2392468" cy="5292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kern="0" dirty="0"/>
              <a:t>Experiment with prompt engineering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0D0FBA3-F71B-DE34-B7E0-994889D52B4F}"/>
              </a:ext>
            </a:extLst>
          </p:cNvPr>
          <p:cNvSpPr txBox="1">
            <a:spLocks/>
          </p:cNvSpPr>
          <p:nvPr/>
        </p:nvSpPr>
        <p:spPr>
          <a:xfrm>
            <a:off x="3051614" y="2695169"/>
            <a:ext cx="2209513" cy="35302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665" lvl="1" indent="-228554"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Choice of foundation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models to use based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on task requirements</a:t>
            </a:r>
          </a:p>
          <a:p>
            <a:pPr marL="239665" lvl="1" indent="-228554"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000000"/>
              </a:solidFill>
            </a:endParaRPr>
          </a:p>
          <a:p>
            <a:pPr marL="239665" lvl="1" indent="-228554"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Prevent the model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from generating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repeating phrases </a:t>
            </a:r>
          </a:p>
          <a:p>
            <a:pPr marL="239665" lvl="1" indent="-228554"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000000"/>
              </a:solidFill>
            </a:endParaRPr>
          </a:p>
          <a:p>
            <a:pPr marL="239665" lvl="1" indent="-228554"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Number of min and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max new tokens in </a:t>
            </a:r>
            <a:br>
              <a:rPr lang="en-US" sz="1400" kern="0" dirty="0">
                <a:solidFill>
                  <a:srgbClr val="000000"/>
                </a:solidFill>
              </a:rPr>
            </a:br>
            <a:r>
              <a:rPr lang="en-US" sz="1400" kern="0" dirty="0">
                <a:solidFill>
                  <a:srgbClr val="000000"/>
                </a:solidFill>
              </a:rPr>
              <a:t>the response </a:t>
            </a:r>
          </a:p>
          <a:p>
            <a:pPr marL="239665" lvl="1" indent="-228554"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000000"/>
              </a:solidFill>
            </a:endParaRPr>
          </a:p>
          <a:p>
            <a:pPr marL="239665" lvl="1" indent="-228554"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Stop sequences – specifies sequences whose appearances should stop the mod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76E32A9-FAF0-53E4-C6AA-A1F1FD63341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69769" y="1904740"/>
            <a:ext cx="5711081" cy="42833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0677162-9942-3DE3-5D49-05AF019C1DCD}"/>
              </a:ext>
            </a:extLst>
          </p:cNvPr>
          <p:cNvSpPr txBox="1">
            <a:spLocks/>
          </p:cNvSpPr>
          <p:nvPr/>
        </p:nvSpPr>
        <p:spPr>
          <a:xfrm>
            <a:off x="288887" y="859965"/>
            <a:ext cx="11614357" cy="7192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400" b="1" kern="0" dirty="0">
                <a:latin typeface="IBM Plex Sans SmBld" panose="020B0703050203000203" pitchFamily="34" charset="0"/>
              </a:rPr>
              <a:t>watson</a:t>
            </a:r>
            <a:r>
              <a:rPr lang="en-US" sz="2400" b="1" kern="0" dirty="0">
                <a:solidFill>
                  <a:srgbClr val="0F62FE"/>
                </a:solidFill>
                <a:latin typeface="IBM Plex Sans SmBld" panose="020B0703050203000203" pitchFamily="34" charset="0"/>
              </a:rPr>
              <a:t>x</a:t>
            </a:r>
            <a:r>
              <a:rPr lang="en-US" sz="2400" b="1" kern="0" dirty="0">
                <a:latin typeface="IBM Plex Sans SmBld" panose="020B0703050203000203" pitchFamily="34" charset="0"/>
              </a:rPr>
              <a:t>.</a:t>
            </a:r>
            <a:r>
              <a:rPr lang="en-US" sz="2400" kern="0" dirty="0">
                <a:latin typeface="IBM Plex Sans SmBld" panose="020B0703050203000203" pitchFamily="34" charset="0"/>
              </a:rPr>
              <a:t>ai</a:t>
            </a:r>
            <a:r>
              <a:rPr lang="en-US" sz="2200" kern="0" dirty="0"/>
              <a:t>: </a:t>
            </a:r>
            <a:r>
              <a:rPr lang="en-US" sz="2200" dirty="0"/>
              <a:t>Prompt Lab</a:t>
            </a:r>
            <a:br>
              <a:rPr lang="en-US" sz="2200" dirty="0"/>
            </a:br>
            <a:r>
              <a:rPr lang="en-US" sz="2000" dirty="0">
                <a:latin typeface="+mj-lt"/>
                <a:cs typeface="Arial" panose="020B0604020202020204" pitchFamily="34" charset="0"/>
              </a:rPr>
              <a:t>Experiment with foundation models and build prompts</a:t>
            </a:r>
            <a:endParaRPr lang="en-US" sz="2200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87AAE4-EBD2-5C49-1122-0C0E609C7A5A}"/>
              </a:ext>
            </a:extLst>
          </p:cNvPr>
          <p:cNvSpPr txBox="1">
            <a:spLocks/>
          </p:cNvSpPr>
          <p:nvPr/>
        </p:nvSpPr>
        <p:spPr>
          <a:xfrm>
            <a:off x="253649" y="6523635"/>
            <a:ext cx="2477765" cy="1904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 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9516912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C8157B5-B0F2-5D7D-FAC8-FE872C098602}"/>
              </a:ext>
            </a:extLst>
          </p:cNvPr>
          <p:cNvSpPr/>
          <p:nvPr/>
        </p:nvSpPr>
        <p:spPr>
          <a:xfrm>
            <a:off x="3854042" y="2967335"/>
            <a:ext cx="4483921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GB" sz="72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6695116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94B88E3-65B0-9947-5FA9-69E315F12993}"/>
              </a:ext>
            </a:extLst>
          </p:cNvPr>
          <p:cNvSpPr txBox="1"/>
          <p:nvPr/>
        </p:nvSpPr>
        <p:spPr>
          <a:xfrm>
            <a:off x="3592287" y="413657"/>
            <a:ext cx="5932714" cy="70788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r>
              <a:rPr lang="en-US" sz="2000" dirty="0">
                <a:hlinkClick r:id="rId2"/>
              </a:rPr>
              <a:t>https://ibm.biz/SB4A-Edunet-AICTE-Internship</a:t>
            </a:r>
            <a:endParaRPr lang="en-US" sz="2000" dirty="0"/>
          </a:p>
          <a:p>
            <a:endParaRPr lang="en-US" sz="2000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40DE98-9083-273A-241A-D94DB863CA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5" y="1762125"/>
            <a:ext cx="3333750" cy="333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6764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EF88D-CBDA-D85C-5E70-D43B1E4BC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57" y="275458"/>
            <a:ext cx="3161621" cy="53987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Student Pro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AFC6D-E19C-ABCD-6127-2E8ACE19A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2DEDA7-03C1-81F3-F886-C09776CDF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2993" y="6449976"/>
            <a:ext cx="61707" cy="123094"/>
          </a:xfrm>
        </p:spPr>
        <p:txBody>
          <a:bodyPr/>
          <a:lstStyle/>
          <a:p>
            <a:fld id="{56D5D98E-4C54-B74E-8523-0E490B132B0E}" type="slidenum">
              <a:rPr lang="en-US" smtClean="0"/>
              <a:t>18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34DE72-B28A-A436-A772-FBE204FBA5C5}"/>
              </a:ext>
            </a:extLst>
          </p:cNvPr>
          <p:cNvSpPr txBox="1"/>
          <p:nvPr/>
        </p:nvSpPr>
        <p:spPr>
          <a:xfrm>
            <a:off x="41519" y="1457013"/>
            <a:ext cx="2140472" cy="55399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r>
              <a:rPr lang="en-US" sz="1000" dirty="0">
                <a:hlinkClick r:id="rId2"/>
              </a:rPr>
              <a:t>https://ibm.biz/SB4A-Edunet-AICTE-Internship</a:t>
            </a:r>
            <a:endParaRPr lang="en-US" sz="1000" dirty="0"/>
          </a:p>
          <a:p>
            <a:endParaRPr lang="en-US" sz="1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F906BBE-0485-3637-7BC0-97AB7040F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4378" y="1251965"/>
            <a:ext cx="2425068" cy="2456810"/>
          </a:xfrm>
          <a:prstGeom prst="rect">
            <a:avLst/>
          </a:prstGeom>
        </p:spPr>
      </p:pic>
      <p:sp>
        <p:nvSpPr>
          <p:cNvPr id="11" name="Chevron 10">
            <a:extLst>
              <a:ext uri="{FF2B5EF4-FFF2-40B4-BE49-F238E27FC236}">
                <a16:creationId xmlns:a16="http://schemas.microsoft.com/office/drawing/2014/main" id="{DEA4EF2C-6B78-35FB-3D66-9235E229AF53}"/>
              </a:ext>
            </a:extLst>
          </p:cNvPr>
          <p:cNvSpPr/>
          <p:nvPr/>
        </p:nvSpPr>
        <p:spPr bwMode="auto">
          <a:xfrm>
            <a:off x="869480" y="4014895"/>
            <a:ext cx="830164" cy="4404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defTabSz="457018"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9CB4AB72-422D-C48F-52AD-108536A9A729}"/>
              </a:ext>
            </a:extLst>
          </p:cNvPr>
          <p:cNvSpPr/>
          <p:nvPr/>
        </p:nvSpPr>
        <p:spPr bwMode="auto">
          <a:xfrm>
            <a:off x="6939005" y="646470"/>
            <a:ext cx="830164" cy="4404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defTabSz="457018"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ABD7B52D-4FC1-9E0D-0DEA-96F586D8C66A}"/>
              </a:ext>
            </a:extLst>
          </p:cNvPr>
          <p:cNvSpPr/>
          <p:nvPr/>
        </p:nvSpPr>
        <p:spPr bwMode="auto">
          <a:xfrm rot="5400000">
            <a:off x="10279967" y="1446817"/>
            <a:ext cx="830164" cy="4404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defTabSz="457018"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95A9F5-8E76-C702-D44D-F5DB35B956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0408" y="646470"/>
            <a:ext cx="2425068" cy="355508"/>
          </a:xfrm>
          <a:prstGeom prst="rect">
            <a:avLst/>
          </a:prstGeom>
        </p:spPr>
      </p:pic>
      <p:sp>
        <p:nvSpPr>
          <p:cNvPr id="15" name="Chevron 14">
            <a:extLst>
              <a:ext uri="{FF2B5EF4-FFF2-40B4-BE49-F238E27FC236}">
                <a16:creationId xmlns:a16="http://schemas.microsoft.com/office/drawing/2014/main" id="{C24B93D2-FD0F-1743-B8A9-33738B4FBAF4}"/>
              </a:ext>
            </a:extLst>
          </p:cNvPr>
          <p:cNvSpPr/>
          <p:nvPr/>
        </p:nvSpPr>
        <p:spPr bwMode="auto">
          <a:xfrm rot="5400000">
            <a:off x="10300897" y="3101178"/>
            <a:ext cx="830164" cy="4404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08" tIns="45708" rIns="45708" bIns="45708" numCol="1" rtlCol="0" anchor="t" anchorCtr="0" compatLnSpc="1">
            <a:prstTxWarp prst="textNoShape">
              <a:avLst/>
            </a:prstTxWarp>
          </a:bodyPr>
          <a:lstStyle/>
          <a:p>
            <a:pPr defTabSz="457018"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Explosion: 8 Points 2">
            <a:extLst>
              <a:ext uri="{FF2B5EF4-FFF2-40B4-BE49-F238E27FC236}">
                <a16:creationId xmlns:a16="http://schemas.microsoft.com/office/drawing/2014/main" id="{E363F851-8A5D-6CA0-B5C6-56652E83BBB0}"/>
              </a:ext>
            </a:extLst>
          </p:cNvPr>
          <p:cNvSpPr/>
          <p:nvPr/>
        </p:nvSpPr>
        <p:spPr bwMode="auto">
          <a:xfrm>
            <a:off x="4448671" y="42733"/>
            <a:ext cx="1286372" cy="811472"/>
          </a:xfrm>
          <a:prstGeom prst="irregularSeal1">
            <a:avLst/>
          </a:prstGeom>
          <a:solidFill>
            <a:srgbClr val="FF0000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14" tIns="45714" rIns="45714" bIns="45714" numCol="1" rtlCol="0" anchor="t" anchorCtr="0" compatLnSpc="1">
            <a:prstTxWarp prst="textNoShape">
              <a:avLst/>
            </a:prstTxWarp>
          </a:bodyPr>
          <a:lstStyle/>
          <a:p>
            <a:pPr defTabSz="457109" fontAlgn="base">
              <a:spcBef>
                <a:spcPct val="0"/>
              </a:spcBef>
              <a:spcAft>
                <a:spcPct val="0"/>
              </a:spcAft>
            </a:pPr>
            <a:r>
              <a:rPr lang="en-IN" sz="16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W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61404250-DBAE-23DD-24A6-BBE8BA2A82EF}"/>
                  </a:ext>
                </a:extLst>
              </p14:cNvPr>
              <p14:cNvContentPartPr/>
              <p14:nvPr/>
            </p14:nvContentPartPr>
            <p14:xfrm>
              <a:off x="8316583" y="2089526"/>
              <a:ext cx="360" cy="360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61404250-DBAE-23DD-24A6-BBE8BA2A82E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10463" y="2083406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B505AF86-3DDA-F3C9-84E3-BF54306BCB8C}"/>
                  </a:ext>
                </a:extLst>
              </p14:cNvPr>
              <p14:cNvContentPartPr/>
              <p14:nvPr/>
            </p14:nvContentPartPr>
            <p14:xfrm>
              <a:off x="8316583" y="2079446"/>
              <a:ext cx="1153440" cy="1188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B505AF86-3DDA-F3C9-84E3-BF54306BCB8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310463" y="2073326"/>
                <a:ext cx="1165680" cy="2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9EE17D41-B72D-DB97-9F50-DC4CD519FC2A}"/>
                  </a:ext>
                </a:extLst>
              </p14:cNvPr>
              <p14:cNvContentPartPr/>
              <p14:nvPr/>
            </p14:nvContentPartPr>
            <p14:xfrm>
              <a:off x="9448423" y="5192366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9EE17D41-B72D-DB97-9F50-DC4CD519FC2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2303" y="5186246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B106450C-1BF4-704E-4BDA-6849DFE136F0}"/>
                  </a:ext>
                </a:extLst>
              </p14:cNvPr>
              <p14:cNvContentPartPr/>
              <p14:nvPr/>
            </p14:nvContentPartPr>
            <p14:xfrm>
              <a:off x="13944463" y="3101846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B106450C-1BF4-704E-4BDA-6849DFE136F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3938343" y="3095726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1030" name="Picture 6">
            <a:extLst>
              <a:ext uri="{FF2B5EF4-FFF2-40B4-BE49-F238E27FC236}">
                <a16:creationId xmlns:a16="http://schemas.microsoft.com/office/drawing/2014/main" id="{4BAC4F43-D569-9989-C937-E9C64666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17" y="1876961"/>
            <a:ext cx="1666875" cy="171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A1F3879-F8DC-FC63-3E16-6C143627807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18559" y="639711"/>
            <a:ext cx="5348006" cy="397284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E0CD6DC-44DE-1091-12C6-A80E65EE040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03062" y="3646573"/>
            <a:ext cx="5626151" cy="280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272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89DAA7A-4F23-732F-3BF1-6B5F2F52C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16B3BE8-1970-09F7-73A8-7C41779A0B20}"/>
              </a:ext>
            </a:extLst>
          </p:cNvPr>
          <p:cNvSpPr>
            <a:spLocks noGrp="1"/>
          </p:cNvSpPr>
          <p:nvPr/>
        </p:nvSpPr>
        <p:spPr>
          <a:xfrm>
            <a:off x="287999" y="338203"/>
            <a:ext cx="7854596" cy="46211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thm15="http://schemas.microsoft.com/office/thememl/2012/main" xmlns:ma14="http://schemas.microsoft.com/office/mac/drawingml/2011/main" xmlns:a14="http://schemas.microsoft.com/office/drawing/2010/main" xmlns:m="http://schemas.openxmlformats.org/officeDocument/2006/math" xmlns:p15="http://schemas.microsoft.com/office/powerpoint/2012/main" xmlns:p14="http://schemas.microsoft.com/office/powerpoint/2010/main" xmlns:a16="http://schemas.microsoft.com/office/drawing/2014/main" xmlns="" xmlns:lc="http://schemas.openxmlformats.org/drawingml/2006/lockedCanvas" val="1"/>
            </a:ext>
          </a:extLst>
        </p:spPr>
        <p:txBody>
          <a:bodyPr lIns="0" tIns="0" rIns="0" bIns="0" anchor="t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56032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512064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768096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IBM Plex Sans Light" panose="020B0403050203000203" pitchFamily="34" charset="0"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1" indent="0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  <a:p>
            <a:pPr marL="256032" marR="0" lvl="1" indent="-256032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v"/>
              <a:tabLst/>
              <a:defRPr/>
            </a:pPr>
            <a:r>
              <a:rPr lang="en-IN" sz="1800" dirty="0">
                <a:solidFill>
                  <a:srgbClr val="000000"/>
                </a:solidFill>
                <a:latin typeface="Segoe UI" panose="020B0502040204020203" pitchFamily="34" charset="0"/>
              </a:rPr>
              <a:t>Introduction to </a:t>
            </a:r>
            <a:r>
              <a:rPr lang="en-IN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Generative AI</a:t>
            </a:r>
            <a:endParaRPr lang="en-IN" sz="18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marL="256032" marR="0" lvl="1" indent="-256032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v"/>
              <a:tabLst/>
              <a:defRPr/>
            </a:pPr>
            <a:r>
              <a:rPr lang="en-IN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Overview of LLMs </a:t>
            </a:r>
          </a:p>
          <a:p>
            <a:pPr marL="256032" marR="0" lvl="1" indent="-256032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v"/>
              <a:tabLst/>
              <a:defRPr/>
            </a:pPr>
            <a:r>
              <a:rPr lang="en-IN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Introduction to Watsonx</a:t>
            </a:r>
            <a:endParaRPr lang="en-IN" sz="18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marL="256032" marR="0" lvl="1" indent="-256032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v"/>
              <a:tabLst/>
              <a:defRPr/>
            </a:pPr>
            <a:r>
              <a:rPr lang="en-IN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Demonstration of Watsonx</a:t>
            </a:r>
            <a:endParaRPr lang="en-IN" sz="1800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marL="256032" marR="0" lvl="1" indent="-256032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v"/>
              <a:tabLst/>
              <a:defRPr/>
            </a:pPr>
            <a:r>
              <a:rPr lang="en-IN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Case Studies in Generative AI</a:t>
            </a:r>
            <a:endParaRPr lang="en-IN" sz="1800" b="0" i="0" u="none" strike="noStrike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marL="0" marR="0" lvl="1" indent="0" algn="l" defTabSz="1218956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8001427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">
            <a:extLst>
              <a:ext uri="{FF2B5EF4-FFF2-40B4-BE49-F238E27FC236}">
                <a16:creationId xmlns:a16="http://schemas.microsoft.com/office/drawing/2014/main" id="{2DCD77B8-0A2F-C01F-28E5-FF4CFF881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445"/>
            <a:ext cx="4820048" cy="1074976"/>
          </a:xfrm>
        </p:spPr>
        <p:txBody>
          <a:bodyPr/>
          <a:lstStyle/>
          <a:p>
            <a:r>
              <a:rPr lang="en-US" dirty="0"/>
              <a:t>The story of AI is a story of data representation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7C204874-3C0A-9FDD-297F-F378CF2D3354}"/>
              </a:ext>
            </a:extLst>
          </p:cNvPr>
          <p:cNvSpPr txBox="1">
            <a:spLocks/>
          </p:cNvSpPr>
          <p:nvPr/>
        </p:nvSpPr>
        <p:spPr>
          <a:xfrm>
            <a:off x="577977" y="5014458"/>
            <a:ext cx="2475384" cy="1163860"/>
          </a:xfrm>
          <a:prstGeom prst="rect">
            <a:avLst/>
          </a:prstGeom>
        </p:spPr>
        <p:txBody>
          <a:bodyPr vert="horz" lIns="121904" tIns="121904" rIns="121904" bIns="121904" rtlCol="0">
            <a:noAutofit/>
          </a:bodyPr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1pPr>
            <a:lvl2pPr marL="327600" marR="0" indent="-32760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2pPr>
            <a:lvl3pPr marL="658800" marR="0" indent="-32760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3pPr>
            <a:lvl4pPr marL="986400" marR="0" indent="-32760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4pPr>
            <a:lvl5pPr marL="685800" marR="0" indent="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Expert systems</a:t>
            </a:r>
          </a:p>
          <a:p>
            <a:pPr marL="228554" marR="0" lvl="0" indent="-228554" algn="l" defTabSz="121895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Rule engines</a:t>
            </a:r>
          </a:p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437D345-605D-CD72-55AD-B91D69BAFD7A}"/>
              </a:ext>
            </a:extLst>
          </p:cNvPr>
          <p:cNvSpPr txBox="1">
            <a:spLocks/>
          </p:cNvSpPr>
          <p:nvPr/>
        </p:nvSpPr>
        <p:spPr>
          <a:xfrm>
            <a:off x="3481928" y="5014457"/>
            <a:ext cx="2450273" cy="1555098"/>
          </a:xfrm>
          <a:prstGeom prst="rect">
            <a:avLst/>
          </a:prstGeom>
        </p:spPr>
        <p:txBody>
          <a:bodyPr lIns="121904" tIns="121904" rIns="121904" bIns="121904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Machine learning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ML algorithms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Task-specific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decision boundaries</a:t>
            </a: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867AFD0-9F36-3328-7E6B-1F93319213C6}"/>
              </a:ext>
            </a:extLst>
          </p:cNvPr>
          <p:cNvSpPr txBox="1">
            <a:spLocks/>
          </p:cNvSpPr>
          <p:nvPr/>
        </p:nvSpPr>
        <p:spPr>
          <a:xfrm>
            <a:off x="6503325" y="5014457"/>
            <a:ext cx="2383334" cy="1546993"/>
          </a:xfrm>
          <a:prstGeom prst="rect">
            <a:avLst/>
          </a:prstGeom>
        </p:spPr>
        <p:txBody>
          <a:bodyPr lIns="121904" tIns="121904" rIns="121904" bIns="121904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Deep learning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Network architectures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rPr>
              <a:t>Task-specific decision boundaries + feature representations</a:t>
            </a: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D8B5349-21AA-F6AE-FE55-BFB524E1FBE2}"/>
              </a:ext>
            </a:extLst>
          </p:cNvPr>
          <p:cNvSpPr/>
          <p:nvPr/>
        </p:nvSpPr>
        <p:spPr bwMode="auto">
          <a:xfrm>
            <a:off x="6346681" y="3251042"/>
            <a:ext cx="2448010" cy="1485986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7994" tIns="47994" rIns="47994" bIns="4799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1E345F1-3E0E-D665-FE9C-02D4DD0B53B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588786" y="3262382"/>
            <a:ext cx="1878251" cy="1414949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9928D1A-05FB-8C0D-4CD7-F66A54C60934}"/>
              </a:ext>
            </a:extLst>
          </p:cNvPr>
          <p:cNvSpPr/>
          <p:nvPr/>
        </p:nvSpPr>
        <p:spPr bwMode="auto">
          <a:xfrm>
            <a:off x="3388431" y="3244368"/>
            <a:ext cx="2448010" cy="1485986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7994" tIns="47994" rIns="47994" bIns="4799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B83EA02-CE7B-28AE-03F3-1D1956457C3A}"/>
              </a:ext>
            </a:extLst>
          </p:cNvPr>
          <p:cNvSpPr/>
          <p:nvPr/>
        </p:nvSpPr>
        <p:spPr bwMode="auto">
          <a:xfrm>
            <a:off x="439902" y="3220224"/>
            <a:ext cx="2448010" cy="1485986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7994" tIns="47994" rIns="47994" bIns="4799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CE76763-D7E8-811F-E721-40499BEC30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4487" y="3229890"/>
            <a:ext cx="1751323" cy="149130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D699F65-6418-C18C-E325-F5CB5C8353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890" y="3112399"/>
            <a:ext cx="1966967" cy="1624099"/>
          </a:xfrm>
          <a:prstGeom prst="rect">
            <a:avLst/>
          </a:prstGeom>
        </p:spPr>
      </p:pic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2194CE9-29E4-031E-FA97-5AB2672B1607}"/>
              </a:ext>
            </a:extLst>
          </p:cNvPr>
          <p:cNvSpPr txBox="1">
            <a:spLocks/>
          </p:cNvSpPr>
          <p:nvPr/>
        </p:nvSpPr>
        <p:spPr>
          <a:xfrm>
            <a:off x="457502" y="5014457"/>
            <a:ext cx="2450273" cy="5788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A8A8A8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4AAC569-0960-894B-37A3-75723AE8DE9F}"/>
              </a:ext>
            </a:extLst>
          </p:cNvPr>
          <p:cNvSpPr txBox="1">
            <a:spLocks/>
          </p:cNvSpPr>
          <p:nvPr/>
        </p:nvSpPr>
        <p:spPr>
          <a:xfrm>
            <a:off x="3401526" y="5014457"/>
            <a:ext cx="2450273" cy="5788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A8A8A8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C67552B-A8F4-67D5-DE99-DBADC8171208}"/>
              </a:ext>
            </a:extLst>
          </p:cNvPr>
          <p:cNvSpPr txBox="1">
            <a:spLocks/>
          </p:cNvSpPr>
          <p:nvPr/>
        </p:nvSpPr>
        <p:spPr>
          <a:xfrm>
            <a:off x="6357739" y="5116044"/>
            <a:ext cx="2450273" cy="5788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20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20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A8A8A8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A8A8A8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94B33D0-B9BA-F488-C04D-2E2BE5FDBD5B}"/>
              </a:ext>
            </a:extLst>
          </p:cNvPr>
          <p:cNvCxnSpPr>
            <a:cxnSpLocks/>
          </p:cNvCxnSpPr>
          <p:nvPr/>
        </p:nvCxnSpPr>
        <p:spPr bwMode="auto">
          <a:xfrm>
            <a:off x="612320" y="4875743"/>
            <a:ext cx="10949705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F604BB3-634D-1A97-C003-8271CDCBABB3}"/>
              </a:ext>
            </a:extLst>
          </p:cNvPr>
          <p:cNvCxnSpPr>
            <a:cxnSpLocks/>
          </p:cNvCxnSpPr>
          <p:nvPr/>
        </p:nvCxnSpPr>
        <p:spPr bwMode="auto">
          <a:xfrm>
            <a:off x="2784459" y="3142636"/>
            <a:ext cx="61719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arrow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B91AF77-A499-BC91-BC2F-783A65CA60F4}"/>
              </a:ext>
            </a:extLst>
          </p:cNvPr>
          <p:cNvCxnSpPr>
            <a:cxnSpLocks/>
          </p:cNvCxnSpPr>
          <p:nvPr/>
        </p:nvCxnSpPr>
        <p:spPr bwMode="auto">
          <a:xfrm>
            <a:off x="5748753" y="3190035"/>
            <a:ext cx="61719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arrow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2770668E-A937-8C09-3AA1-705DE4D0F939}"/>
              </a:ext>
            </a:extLst>
          </p:cNvPr>
          <p:cNvCxnSpPr>
            <a:cxnSpLocks/>
          </p:cNvCxnSpPr>
          <p:nvPr/>
        </p:nvCxnSpPr>
        <p:spPr bwMode="auto">
          <a:xfrm>
            <a:off x="8727751" y="3194290"/>
            <a:ext cx="61719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arrow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7080C2C9-19F6-BF95-504D-A31277D201CA}"/>
              </a:ext>
            </a:extLst>
          </p:cNvPr>
          <p:cNvSpPr txBox="1"/>
          <p:nvPr/>
        </p:nvSpPr>
        <p:spPr>
          <a:xfrm>
            <a:off x="903143" y="1727596"/>
            <a:ext cx="2072370" cy="9437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SmBld" panose="020B0503050203000203" pitchFamily="34" charset="0"/>
                <a:ea typeface="IBM Plex Sans" charset="0"/>
                <a:cs typeface="IBM Plex Sans" charset="0"/>
              </a:rPr>
              <a:t>1980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IBM Plex Sans" charset="0"/>
              <a:cs typeface="IBM Plex Sans" charset="0"/>
            </a:endParaRPr>
          </a:p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9FF6A5C-677A-CF1D-6184-7BF87B02A80A}"/>
              </a:ext>
            </a:extLst>
          </p:cNvPr>
          <p:cNvCxnSpPr/>
          <p:nvPr/>
        </p:nvCxnSpPr>
        <p:spPr bwMode="auto">
          <a:xfrm flipV="1">
            <a:off x="3096892" y="1740739"/>
            <a:ext cx="0" cy="1401897"/>
          </a:xfrm>
          <a:prstGeom prst="line">
            <a:avLst/>
          </a:prstGeom>
          <a:ln w="9525">
            <a:solidFill>
              <a:schemeClr val="tx1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1BB1A350-F0F9-3FD5-82C0-ACECFF42AE79}"/>
              </a:ext>
            </a:extLst>
          </p:cNvPr>
          <p:cNvSpPr txBox="1"/>
          <p:nvPr/>
        </p:nvSpPr>
        <p:spPr>
          <a:xfrm>
            <a:off x="3859880" y="1763479"/>
            <a:ext cx="20723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SmBld" panose="020B0503050203000203" pitchFamily="34" charset="0"/>
                <a:ea typeface="IBM Plex Sans" charset="0"/>
                <a:cs typeface="IBM Plex Sans" charset="0"/>
              </a:rPr>
              <a:t>1980s to ~2010s 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2008F29-44A4-96B4-6418-A928CB657215}"/>
              </a:ext>
            </a:extLst>
          </p:cNvPr>
          <p:cNvCxnSpPr/>
          <p:nvPr/>
        </p:nvCxnSpPr>
        <p:spPr bwMode="auto">
          <a:xfrm flipV="1">
            <a:off x="6042304" y="1791581"/>
            <a:ext cx="0" cy="1401897"/>
          </a:xfrm>
          <a:prstGeom prst="line">
            <a:avLst/>
          </a:prstGeom>
          <a:ln w="9525">
            <a:solidFill>
              <a:schemeClr val="tx1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F50D49B-656D-F9C4-A4D1-5BE138375E5C}"/>
              </a:ext>
            </a:extLst>
          </p:cNvPr>
          <p:cNvCxnSpPr/>
          <p:nvPr/>
        </p:nvCxnSpPr>
        <p:spPr bwMode="auto">
          <a:xfrm flipV="1">
            <a:off x="9025318" y="1756647"/>
            <a:ext cx="0" cy="1401897"/>
          </a:xfrm>
          <a:prstGeom prst="line">
            <a:avLst/>
          </a:prstGeom>
          <a:ln w="9525">
            <a:solidFill>
              <a:schemeClr val="tx1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DCE91340-FB68-B0D3-3894-621C7C7DE81F}"/>
              </a:ext>
            </a:extLst>
          </p:cNvPr>
          <p:cNvSpPr txBox="1"/>
          <p:nvPr/>
        </p:nvSpPr>
        <p:spPr>
          <a:xfrm>
            <a:off x="3215976" y="1756648"/>
            <a:ext cx="91383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Big data</a:t>
            </a: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E5CAEA7-6690-AEF3-BFE4-57FF95A07614}"/>
              </a:ext>
            </a:extLst>
          </p:cNvPr>
          <p:cNvSpPr txBox="1"/>
          <p:nvPr/>
        </p:nvSpPr>
        <p:spPr>
          <a:xfrm>
            <a:off x="6155301" y="1765099"/>
            <a:ext cx="207237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Massive labeled data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+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Compute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427711C4-E20B-0623-4E3D-CCB340B7E7B2}"/>
              </a:ext>
            </a:extLst>
          </p:cNvPr>
          <p:cNvSpPr txBox="1">
            <a:spLocks/>
          </p:cNvSpPr>
          <p:nvPr/>
        </p:nvSpPr>
        <p:spPr>
          <a:xfrm>
            <a:off x="9286821" y="5014458"/>
            <a:ext cx="2611530" cy="1034677"/>
          </a:xfrm>
          <a:prstGeom prst="rect">
            <a:avLst/>
          </a:prstGeom>
        </p:spPr>
        <p:txBody>
          <a:bodyPr lIns="121904" tIns="121904" rIns="121904" bIns="121904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D9C"/>
                </a:solidFill>
                <a:effectLst/>
                <a:uLnTx/>
                <a:uFillTx/>
                <a:latin typeface="IBM Plex Sans Light"/>
              </a:rPr>
              <a:t>Foundation models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D9C"/>
                </a:solidFill>
                <a:effectLst/>
                <a:uLnTx/>
                <a:uFillTx/>
                <a:latin typeface="IBM Plex Sans Light"/>
              </a:rPr>
              <a:t>Base model</a:t>
            </a:r>
          </a:p>
          <a:p>
            <a:pPr marL="228554" marR="0" lvl="0" indent="-228554" algn="l" defTabSz="1218926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D9C"/>
                </a:solidFill>
                <a:effectLst/>
                <a:uLnTx/>
                <a:uFillTx/>
                <a:latin typeface="IBM Plex Sans Light"/>
              </a:rPr>
              <a:t>Adaptable decision boundaries and feature representations</a:t>
            </a: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A0C2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  <a:p>
            <a:pPr marL="0" marR="0" lvl="0" indent="0" algn="l" defTabSz="12189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solidFill>
                <a:srgbClr val="FFA0C2"/>
              </a:solidFill>
              <a:effectLst/>
              <a:uLnTx/>
              <a:uFillTx/>
              <a:latin typeface="IBM Plex Sans Light" panose="020B0403050203000203" pitchFamily="34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B3B6D50B-FBE3-B2A1-7D03-60174FBA9C8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31" t="4773" r="5866" b="4433"/>
          <a:stretch/>
        </p:blipFill>
        <p:spPr>
          <a:xfrm>
            <a:off x="9428523" y="3185127"/>
            <a:ext cx="2072370" cy="1569457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74EE779-4633-84FA-2145-5C3793D15C84}"/>
              </a:ext>
            </a:extLst>
          </p:cNvPr>
          <p:cNvSpPr txBox="1"/>
          <p:nvPr/>
        </p:nvSpPr>
        <p:spPr>
          <a:xfrm>
            <a:off x="9138313" y="1757336"/>
            <a:ext cx="2072370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D9C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Self-supervision at scale</a:t>
            </a: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+</a:t>
            </a: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Massive unlabeled data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+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IBM Plex Sans" charset="0"/>
                <a:cs typeface="IBM Plex Sans" charset="0"/>
              </a:rPr>
              <a:t>Compute</a:t>
            </a: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  <a:ea typeface="IBM Plex Sans" charset="0"/>
              <a:cs typeface="IBM Plex Sans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A6A2622-4AD2-9323-7E35-67845391F320}"/>
              </a:ext>
            </a:extLst>
          </p:cNvPr>
          <p:cNvSpPr txBox="1"/>
          <p:nvPr/>
        </p:nvSpPr>
        <p:spPr>
          <a:xfrm>
            <a:off x="7640402" y="1739391"/>
            <a:ext cx="132729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D9C"/>
                </a:solidFill>
                <a:effectLst/>
                <a:uLnTx/>
                <a:uFillTx/>
                <a:latin typeface="IBM Plex Sans SmBld" panose="020B0503050203000203" pitchFamily="34" charset="0"/>
                <a:ea typeface="IBM Plex Sans" charset="0"/>
                <a:cs typeface="IBM Plex Sans" charset="0"/>
              </a:rPr>
              <a:t>2017+</a:t>
            </a:r>
          </a:p>
          <a:p>
            <a:pPr marL="0" marR="0" lvl="0" indent="0" algn="l" defTabSz="9144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930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5C29A-05DB-5456-B0E8-D08451F1A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9334"/>
            <a:ext cx="2607225" cy="930154"/>
          </a:xfrm>
        </p:spPr>
        <p:txBody>
          <a:bodyPr/>
          <a:lstStyle/>
          <a:p>
            <a:r>
              <a:rPr lang="en-US" dirty="0"/>
              <a:t>Foundation model librar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21E97C-37D8-A6B5-E6EC-3D1374038A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1" dirty="0"/>
              <a:t>Encoder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CECE3-B2DA-74B2-8EF1-9E5A412DDD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1" dirty="0"/>
              <a:t>Deco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F2B01F-D853-3B4F-DEFA-951684B145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Encoder-decod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2CB04C-1296-5A00-33FC-272DDA034F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317" y="1714723"/>
            <a:ext cx="2489903" cy="4285692"/>
          </a:xfrm>
        </p:spPr>
        <p:txBody>
          <a:bodyPr/>
          <a:lstStyle/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Powers search engines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and customer-service chatbots, including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  <a:hlinkClick r:id="rId3"/>
              </a:rPr>
              <a:t>IBM Watson Assistant</a:t>
            </a:r>
            <a:r>
              <a:rPr lang="en-CA" sz="1400" dirty="0">
                <a:solidFill>
                  <a:srgbClr val="121619"/>
                </a:solidFill>
                <a:latin typeface="+mn-lt"/>
              </a:rPr>
              <a:t>. </a:t>
            </a:r>
          </a:p>
          <a:p>
            <a:pPr algn="l" fontAlgn="auto"/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Encoder-only models are widely used for non-generative tasks like classifying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customer feedback and extracting information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from long documents. </a:t>
            </a:r>
          </a:p>
          <a:p>
            <a:pPr algn="l" fontAlgn="auto"/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Encoders are not trained to predict, but rather to find &amp; extract useful information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from models trained with relatively smaller sets of data.</a:t>
            </a:r>
          </a:p>
          <a:p>
            <a:pPr algn="l" fontAlgn="auto"/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Google’s Bidirectional Encoder Representation from Transformer (BERT) is              an example</a:t>
            </a:r>
            <a:br>
              <a:rPr lang="en-CA" sz="1600" dirty="0">
                <a:solidFill>
                  <a:srgbClr val="121619"/>
                </a:solidFill>
                <a:latin typeface="+mn-lt"/>
              </a:rPr>
            </a:br>
            <a:endParaRPr lang="en-CA" sz="1600" dirty="0">
              <a:solidFill>
                <a:srgbClr val="121619"/>
              </a:solidFill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F6BC24-DB4A-ECA7-05BF-845DCD5BDF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781" y="1714724"/>
            <a:ext cx="2481638" cy="4285692"/>
          </a:xfrm>
        </p:spPr>
        <p:txBody>
          <a:bodyPr/>
          <a:lstStyle/>
          <a:p>
            <a:r>
              <a:rPr lang="en-CA" sz="1400" dirty="0">
                <a:solidFill>
                  <a:srgbClr val="121619"/>
                </a:solidFill>
                <a:latin typeface="+mn-lt"/>
              </a:rPr>
              <a:t>Trained to predict the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next word without an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encoded representation. </a:t>
            </a:r>
          </a:p>
          <a:p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r>
              <a:rPr lang="en-CA" sz="1400" dirty="0">
                <a:solidFill>
                  <a:srgbClr val="121619"/>
                </a:solidFill>
                <a:latin typeface="+mn-lt"/>
              </a:rPr>
              <a:t>Decoder-only models are used with chat platforms like ChatGPT to generate new responses, answers, or text based on simple input from customers.</a:t>
            </a:r>
          </a:p>
          <a:p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r>
              <a:rPr lang="en-CA" sz="1400" dirty="0">
                <a:solidFill>
                  <a:srgbClr val="121619"/>
                </a:solidFill>
                <a:latin typeface="+mn-lt"/>
              </a:rPr>
              <a:t>Decoders are trained for predictive, generative tasks based on their massive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pre-trained data sets.</a:t>
            </a:r>
          </a:p>
          <a:p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r>
              <a:rPr lang="en-CA" sz="1400" dirty="0">
                <a:solidFill>
                  <a:srgbClr val="121619"/>
                </a:solidFill>
                <a:latin typeface="+mn-lt"/>
              </a:rPr>
              <a:t>The Generative Pre-Trained Transformer (GPT) is                 an examp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127B591-C7DC-194C-BB06-502DEC7BD71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Combines features of both encoder and decoder models. </a:t>
            </a:r>
          </a:p>
          <a:p>
            <a:pPr algn="l" fontAlgn="auto"/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They can do many of the generative tasks that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decoder-only models can,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but their compact size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makes them faster and cheaper to tune and serve.</a:t>
            </a:r>
          </a:p>
          <a:p>
            <a:pPr algn="l" fontAlgn="auto"/>
            <a:endParaRPr lang="en-CA" sz="1400" dirty="0">
              <a:solidFill>
                <a:srgbClr val="121619"/>
              </a:solidFill>
              <a:latin typeface="+mn-lt"/>
            </a:endParaRPr>
          </a:p>
          <a:p>
            <a:pPr algn="l" fontAlgn="auto"/>
            <a:r>
              <a:rPr lang="en-CA" sz="1400" dirty="0">
                <a:solidFill>
                  <a:srgbClr val="121619"/>
                </a:solidFill>
                <a:latin typeface="+mn-lt"/>
              </a:rPr>
              <a:t>Google’s Text-to-Text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Transfer Transformer </a:t>
            </a:r>
            <a:br>
              <a:rPr lang="en-CA" sz="1400" dirty="0">
                <a:solidFill>
                  <a:srgbClr val="121619"/>
                </a:solidFill>
                <a:latin typeface="+mn-lt"/>
              </a:rPr>
            </a:br>
            <a:r>
              <a:rPr lang="en-CA" sz="1400" dirty="0">
                <a:solidFill>
                  <a:srgbClr val="121619"/>
                </a:solidFill>
                <a:latin typeface="+mn-lt"/>
              </a:rPr>
              <a:t>(T5) is an example.</a:t>
            </a:r>
          </a:p>
          <a:p>
            <a:endParaRPr lang="en-US" sz="1600" dirty="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CC970B-415C-3462-C680-354D747F1996}"/>
              </a:ext>
            </a:extLst>
          </p:cNvPr>
          <p:cNvSpPr txBox="1"/>
          <p:nvPr/>
        </p:nvSpPr>
        <p:spPr>
          <a:xfrm>
            <a:off x="358004" y="2571862"/>
            <a:ext cx="2213412" cy="800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IBM watsonx.ai provides open</a:t>
            </a:r>
          </a:p>
          <a:p>
            <a:pPr marL="0" marR="0" lvl="0" indent="0" algn="l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foundation models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as well as IBM’s securely trained models including encoder, decoder,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&amp; encoder-decoder foundation model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232339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86563-2B8E-BC80-D0D7-1ED571ACC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827" y="285719"/>
            <a:ext cx="5521401" cy="674542"/>
          </a:xfrm>
        </p:spPr>
        <p:txBody>
          <a:bodyPr/>
          <a:lstStyle/>
          <a:p>
            <a:r>
              <a:rPr lang="en-US" dirty="0"/>
              <a:t>Foundation models are …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A813D6-5ED6-9A38-316B-0E422FE225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0919" y="353914"/>
            <a:ext cx="2463905" cy="250674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D62FE"/>
                </a:solidFill>
              </a:rPr>
              <a:t>Pre-trained</a:t>
            </a:r>
          </a:p>
          <a:p>
            <a:endParaRPr lang="en-US" dirty="0"/>
          </a:p>
          <a:p>
            <a:pPr>
              <a:spcBef>
                <a:spcPts val="300"/>
              </a:spcBef>
            </a:pPr>
            <a:r>
              <a:rPr lang="en-CA" dirty="0"/>
              <a:t>On unlabeled datasets of different modalities (e.g., language, time-series, tabular)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2FD26B-995C-97E5-79CE-C55473DED2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40796" y="353913"/>
            <a:ext cx="2439493" cy="250674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Self-learning</a:t>
            </a:r>
          </a:p>
          <a:p>
            <a:endParaRPr lang="en-US" dirty="0"/>
          </a:p>
          <a:p>
            <a:r>
              <a:rPr lang="en-US" dirty="0"/>
              <a:t>Systems that leverage self-supervised learning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55F095-493C-B2AA-49B7-76B27ED1B01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95541" y="3429000"/>
            <a:ext cx="2491428" cy="314055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Multiple applications</a:t>
            </a:r>
          </a:p>
          <a:p>
            <a:endParaRPr lang="en-US" dirty="0">
              <a:solidFill>
                <a:schemeClr val="accent1"/>
              </a:solidFill>
            </a:endParaRPr>
          </a:p>
          <a:p>
            <a:r>
              <a:rPr lang="en-US" dirty="0"/>
              <a:t>Able to learn generalizable and adaptable data representations that can be effectively used in a variety of domains and tasks (code generation, question answering, sentiment analysi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6453F0-0A6C-C895-C568-77196B99C5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40796" y="3429000"/>
            <a:ext cx="2439493" cy="2380939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Large language models</a:t>
            </a:r>
          </a:p>
          <a:p>
            <a:endParaRPr lang="en-US" dirty="0"/>
          </a:p>
          <a:p>
            <a:r>
              <a:rPr lang="en-US" dirty="0"/>
              <a:t>A type of foundation model trained withy language-related data</a:t>
            </a:r>
          </a:p>
          <a:p>
            <a:endParaRPr lang="en-US" dirty="0"/>
          </a:p>
          <a:p>
            <a:r>
              <a:rPr lang="en-US" dirty="0"/>
              <a:t>ChatGPT is based on a large language model</a:t>
            </a:r>
          </a:p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6E15D-8A4D-A0F0-7BE7-24B3C22A916F}"/>
              </a:ext>
            </a:extLst>
          </p:cNvPr>
          <p:cNvCxnSpPr/>
          <p:nvPr/>
        </p:nvCxnSpPr>
        <p:spPr bwMode="auto">
          <a:xfrm>
            <a:off x="6095207" y="3048050"/>
            <a:ext cx="581025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B780BAF-D571-686E-6AF1-9E6403F74212}"/>
              </a:ext>
            </a:extLst>
          </p:cNvPr>
          <p:cNvCxnSpPr>
            <a:cxnSpLocks/>
          </p:cNvCxnSpPr>
          <p:nvPr/>
        </p:nvCxnSpPr>
        <p:spPr bwMode="auto">
          <a:xfrm>
            <a:off x="6095207" y="285366"/>
            <a:ext cx="0" cy="61501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F68DF2-0445-D221-52E0-2D45AC03BB2A}"/>
              </a:ext>
            </a:extLst>
          </p:cNvPr>
          <p:cNvCxnSpPr>
            <a:cxnSpLocks/>
          </p:cNvCxnSpPr>
          <p:nvPr/>
        </p:nvCxnSpPr>
        <p:spPr bwMode="auto">
          <a:xfrm>
            <a:off x="9142810" y="353914"/>
            <a:ext cx="0" cy="61501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F0883620-DAD8-9CD8-FAD3-6B6E31563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291" y="2419977"/>
            <a:ext cx="4197814" cy="188741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" name="Group">
            <a:extLst>
              <a:ext uri="{FF2B5EF4-FFF2-40B4-BE49-F238E27FC236}">
                <a16:creationId xmlns:a16="http://schemas.microsoft.com/office/drawing/2014/main" id="{CC26C048-07DF-EE77-7309-79DFD179386A}"/>
              </a:ext>
            </a:extLst>
          </p:cNvPr>
          <p:cNvGrpSpPr>
            <a:grpSpLocks noChangeAspect="1"/>
          </p:cNvGrpSpPr>
          <p:nvPr/>
        </p:nvGrpSpPr>
        <p:grpSpPr>
          <a:xfrm>
            <a:off x="1789408" y="4960838"/>
            <a:ext cx="2590832" cy="1156070"/>
            <a:chOff x="0" y="0"/>
            <a:chExt cx="3211821" cy="1433162"/>
          </a:xfrm>
        </p:grpSpPr>
        <p:sp>
          <p:nvSpPr>
            <p:cNvPr id="9" name="Rectangle">
              <a:extLst>
                <a:ext uri="{FF2B5EF4-FFF2-40B4-BE49-F238E27FC236}">
                  <a16:creationId xmlns:a16="http://schemas.microsoft.com/office/drawing/2014/main" id="{7A08C990-2944-507A-969C-867760AA6A40}"/>
                </a:ext>
              </a:extLst>
            </p:cNvPr>
            <p:cNvSpPr/>
            <p:nvPr/>
          </p:nvSpPr>
          <p:spPr>
            <a:xfrm>
              <a:off x="0" y="0"/>
              <a:ext cx="3211822" cy="143316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25397" tIns="25397" rIns="25397" bIns="25397" numCol="1" anchor="ctr">
              <a:noAutofit/>
            </a:bodyPr>
            <a:lstStyle/>
            <a:p>
              <a:pPr marL="0" marR="0" lvl="0" indent="0" algn="l" defTabSz="4126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4" name="Straight Connector 523">
              <a:extLst>
                <a:ext uri="{FF2B5EF4-FFF2-40B4-BE49-F238E27FC236}">
                  <a16:creationId xmlns:a16="http://schemas.microsoft.com/office/drawing/2014/main" id="{FC8238A0-FF5A-7D84-9504-C420F796D828}"/>
                </a:ext>
              </a:extLst>
            </p:cNvPr>
            <p:cNvSpPr/>
            <p:nvPr/>
          </p:nvSpPr>
          <p:spPr>
            <a:xfrm flipH="1">
              <a:off x="911403" y="510331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" name="Straight Connector 524">
              <a:extLst>
                <a:ext uri="{FF2B5EF4-FFF2-40B4-BE49-F238E27FC236}">
                  <a16:creationId xmlns:a16="http://schemas.microsoft.com/office/drawing/2014/main" id="{193F07E9-F30E-9D71-83B1-25E84D0642EA}"/>
                </a:ext>
              </a:extLst>
            </p:cNvPr>
            <p:cNvSpPr/>
            <p:nvPr/>
          </p:nvSpPr>
          <p:spPr>
            <a:xfrm flipH="1" flipV="1">
              <a:off x="195534" y="51033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" name="Straight Connector 540">
              <a:extLst>
                <a:ext uri="{FF2B5EF4-FFF2-40B4-BE49-F238E27FC236}">
                  <a16:creationId xmlns:a16="http://schemas.microsoft.com/office/drawing/2014/main" id="{3C985355-D993-B757-A5E4-EB98EC9ECB93}"/>
                </a:ext>
              </a:extLst>
            </p:cNvPr>
            <p:cNvSpPr/>
            <p:nvPr/>
          </p:nvSpPr>
          <p:spPr>
            <a:xfrm flipH="1">
              <a:off x="912992" y="883543"/>
              <a:ext cx="28728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7" name="Straight Connector 541">
              <a:extLst>
                <a:ext uri="{FF2B5EF4-FFF2-40B4-BE49-F238E27FC236}">
                  <a16:creationId xmlns:a16="http://schemas.microsoft.com/office/drawing/2014/main" id="{157030D1-6A93-B733-CC37-C0C1E5BF446C}"/>
                </a:ext>
              </a:extLst>
            </p:cNvPr>
            <p:cNvSpPr/>
            <p:nvPr/>
          </p:nvSpPr>
          <p:spPr>
            <a:xfrm flipH="1">
              <a:off x="195534" y="883543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8" name="Straight Connector 553">
              <a:extLst>
                <a:ext uri="{FF2B5EF4-FFF2-40B4-BE49-F238E27FC236}">
                  <a16:creationId xmlns:a16="http://schemas.microsoft.com/office/drawing/2014/main" id="{94AFFE97-0189-528A-C02E-288DA0F75294}"/>
                </a:ext>
              </a:extLst>
            </p:cNvPr>
            <p:cNvSpPr/>
            <p:nvPr/>
          </p:nvSpPr>
          <p:spPr>
            <a:xfrm flipH="1">
              <a:off x="909699" y="1257756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9" name="Straight Connector 554">
              <a:extLst>
                <a:ext uri="{FF2B5EF4-FFF2-40B4-BE49-F238E27FC236}">
                  <a16:creationId xmlns:a16="http://schemas.microsoft.com/office/drawing/2014/main" id="{E4BC2C72-B3EE-631B-A876-9B2D93B18D04}"/>
                </a:ext>
              </a:extLst>
            </p:cNvPr>
            <p:cNvSpPr/>
            <p:nvPr/>
          </p:nvSpPr>
          <p:spPr>
            <a:xfrm flipH="1">
              <a:off x="195534" y="1256755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0" name="Straight Connector 565">
              <a:extLst>
                <a:ext uri="{FF2B5EF4-FFF2-40B4-BE49-F238E27FC236}">
                  <a16:creationId xmlns:a16="http://schemas.microsoft.com/office/drawing/2014/main" id="{FD77C038-A054-7E65-B5E4-3A26FFEF8E30}"/>
                </a:ext>
              </a:extLst>
            </p:cNvPr>
            <p:cNvSpPr/>
            <p:nvPr/>
          </p:nvSpPr>
          <p:spPr>
            <a:xfrm flipV="1">
              <a:off x="912992" y="137082"/>
              <a:ext cx="285565" cy="74941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" name="Straight Connector 566">
              <a:extLst>
                <a:ext uri="{FF2B5EF4-FFF2-40B4-BE49-F238E27FC236}">
                  <a16:creationId xmlns:a16="http://schemas.microsoft.com/office/drawing/2014/main" id="{FCBF4693-9051-89D6-FD1E-FA0E30E325A1}"/>
                </a:ext>
              </a:extLst>
            </p:cNvPr>
            <p:cNvSpPr/>
            <p:nvPr/>
          </p:nvSpPr>
          <p:spPr>
            <a:xfrm flipV="1">
              <a:off x="914615" y="511635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" name="Straight Connector 567">
              <a:extLst>
                <a:ext uri="{FF2B5EF4-FFF2-40B4-BE49-F238E27FC236}">
                  <a16:creationId xmlns:a16="http://schemas.microsoft.com/office/drawing/2014/main" id="{4DF44213-B781-097A-D2DE-ABC9A5A36AFA}"/>
                </a:ext>
              </a:extLst>
            </p:cNvPr>
            <p:cNvSpPr/>
            <p:nvPr/>
          </p:nvSpPr>
          <p:spPr>
            <a:xfrm flipV="1">
              <a:off x="199232" y="138575"/>
              <a:ext cx="627988" cy="37005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" name="Straight Connector 568">
              <a:extLst>
                <a:ext uri="{FF2B5EF4-FFF2-40B4-BE49-F238E27FC236}">
                  <a16:creationId xmlns:a16="http://schemas.microsoft.com/office/drawing/2014/main" id="{41B4A79F-255D-2661-E71B-63080A62CD51}"/>
                </a:ext>
              </a:extLst>
            </p:cNvPr>
            <p:cNvSpPr/>
            <p:nvPr/>
          </p:nvSpPr>
          <p:spPr>
            <a:xfrm flipV="1">
              <a:off x="195534" y="13711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" name="Straight Connector 569">
              <a:extLst>
                <a:ext uri="{FF2B5EF4-FFF2-40B4-BE49-F238E27FC236}">
                  <a16:creationId xmlns:a16="http://schemas.microsoft.com/office/drawing/2014/main" id="{EB1C8416-FCA9-205A-8A0D-F76BD86FDAE4}"/>
                </a:ext>
              </a:extLst>
            </p:cNvPr>
            <p:cNvSpPr/>
            <p:nvPr/>
          </p:nvSpPr>
          <p:spPr>
            <a:xfrm flipV="1">
              <a:off x="195535" y="510292"/>
              <a:ext cx="631684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" name="Straight Connector 570">
              <a:extLst>
                <a:ext uri="{FF2B5EF4-FFF2-40B4-BE49-F238E27FC236}">
                  <a16:creationId xmlns:a16="http://schemas.microsoft.com/office/drawing/2014/main" id="{18388591-B1DC-8053-98BD-7AF6625981E5}"/>
                </a:ext>
              </a:extLst>
            </p:cNvPr>
            <p:cNvSpPr/>
            <p:nvPr/>
          </p:nvSpPr>
          <p:spPr>
            <a:xfrm flipV="1">
              <a:off x="195534" y="883543"/>
              <a:ext cx="631685" cy="37420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" name="Straight Connector 571">
              <a:extLst>
                <a:ext uri="{FF2B5EF4-FFF2-40B4-BE49-F238E27FC236}">
                  <a16:creationId xmlns:a16="http://schemas.microsoft.com/office/drawing/2014/main" id="{7B8AAE6B-87C3-4D03-E359-A25FDA3F714F}"/>
                </a:ext>
              </a:extLst>
            </p:cNvPr>
            <p:cNvSpPr/>
            <p:nvPr/>
          </p:nvSpPr>
          <p:spPr>
            <a:xfrm flipV="1">
              <a:off x="195534" y="510332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7" name="Straight Connector 572">
              <a:extLst>
                <a:ext uri="{FF2B5EF4-FFF2-40B4-BE49-F238E27FC236}">
                  <a16:creationId xmlns:a16="http://schemas.microsoft.com/office/drawing/2014/main" id="{A4A847BB-21CE-569E-2B7C-A480BBC12BC0}"/>
                </a:ext>
              </a:extLst>
            </p:cNvPr>
            <p:cNvSpPr/>
            <p:nvPr/>
          </p:nvSpPr>
          <p:spPr>
            <a:xfrm flipV="1">
              <a:off x="195534" y="137080"/>
              <a:ext cx="631686" cy="112101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" name="Straight Connector 577">
              <a:extLst>
                <a:ext uri="{FF2B5EF4-FFF2-40B4-BE49-F238E27FC236}">
                  <a16:creationId xmlns:a16="http://schemas.microsoft.com/office/drawing/2014/main" id="{50CD20BA-29F9-EA88-C65D-56D55E6B197F}"/>
                </a:ext>
              </a:extLst>
            </p:cNvPr>
            <p:cNvSpPr/>
            <p:nvPr/>
          </p:nvSpPr>
          <p:spPr>
            <a:xfrm flipH="1" flipV="1">
              <a:off x="198183" y="13655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" name="Straight Connector 578">
              <a:extLst>
                <a:ext uri="{FF2B5EF4-FFF2-40B4-BE49-F238E27FC236}">
                  <a16:creationId xmlns:a16="http://schemas.microsoft.com/office/drawing/2014/main" id="{03A7010B-64C1-AC0F-16E6-4C9BAD82FB67}"/>
                </a:ext>
              </a:extLst>
            </p:cNvPr>
            <p:cNvSpPr/>
            <p:nvPr/>
          </p:nvSpPr>
          <p:spPr>
            <a:xfrm>
              <a:off x="198183" y="139306"/>
              <a:ext cx="630085" cy="7449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" name="Straight Connector 579">
              <a:extLst>
                <a:ext uri="{FF2B5EF4-FFF2-40B4-BE49-F238E27FC236}">
                  <a16:creationId xmlns:a16="http://schemas.microsoft.com/office/drawing/2014/main" id="{4EC2E1D5-C135-F807-500E-381D77027B34}"/>
                </a:ext>
              </a:extLst>
            </p:cNvPr>
            <p:cNvSpPr/>
            <p:nvPr/>
          </p:nvSpPr>
          <p:spPr>
            <a:xfrm>
              <a:off x="198183" y="136558"/>
              <a:ext cx="630085" cy="11207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" name="Straight Connector 580">
              <a:extLst>
                <a:ext uri="{FF2B5EF4-FFF2-40B4-BE49-F238E27FC236}">
                  <a16:creationId xmlns:a16="http://schemas.microsoft.com/office/drawing/2014/main" id="{3BAC25A1-AF10-1D58-4717-AFA27980610C}"/>
                </a:ext>
              </a:extLst>
            </p:cNvPr>
            <p:cNvSpPr/>
            <p:nvPr/>
          </p:nvSpPr>
          <p:spPr>
            <a:xfrm flipH="1" flipV="1">
              <a:off x="196500" y="51098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2" name="Straight Connector 581">
              <a:extLst>
                <a:ext uri="{FF2B5EF4-FFF2-40B4-BE49-F238E27FC236}">
                  <a16:creationId xmlns:a16="http://schemas.microsoft.com/office/drawing/2014/main" id="{5D66D89A-058E-CD4C-3D37-808CC1F002BE}"/>
                </a:ext>
              </a:extLst>
            </p:cNvPr>
            <p:cNvSpPr/>
            <p:nvPr/>
          </p:nvSpPr>
          <p:spPr>
            <a:xfrm flipH="1" flipV="1">
              <a:off x="195535" y="88354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3" name="Straight Connector 582">
              <a:extLst>
                <a:ext uri="{FF2B5EF4-FFF2-40B4-BE49-F238E27FC236}">
                  <a16:creationId xmlns:a16="http://schemas.microsoft.com/office/drawing/2014/main" id="{C894E281-6EA7-D922-5495-4F98007F1E41}"/>
                </a:ext>
              </a:extLst>
            </p:cNvPr>
            <p:cNvSpPr/>
            <p:nvPr/>
          </p:nvSpPr>
          <p:spPr>
            <a:xfrm flipH="1" flipV="1">
              <a:off x="196938" y="50927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4" name="Straight Connector 583">
              <a:extLst>
                <a:ext uri="{FF2B5EF4-FFF2-40B4-BE49-F238E27FC236}">
                  <a16:creationId xmlns:a16="http://schemas.microsoft.com/office/drawing/2014/main" id="{9C070AA6-A23F-7DC0-9A17-E72021412ED0}"/>
                </a:ext>
              </a:extLst>
            </p:cNvPr>
            <p:cNvSpPr/>
            <p:nvPr/>
          </p:nvSpPr>
          <p:spPr>
            <a:xfrm flipV="1">
              <a:off x="914616" y="137486"/>
              <a:ext cx="281947" cy="37244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5" name="Straight Connector 584">
              <a:extLst>
                <a:ext uri="{FF2B5EF4-FFF2-40B4-BE49-F238E27FC236}">
                  <a16:creationId xmlns:a16="http://schemas.microsoft.com/office/drawing/2014/main" id="{E79568B9-22C9-1A8D-B25E-4EE347C740DF}"/>
                </a:ext>
              </a:extLst>
            </p:cNvPr>
            <p:cNvSpPr/>
            <p:nvPr/>
          </p:nvSpPr>
          <p:spPr>
            <a:xfrm flipV="1">
              <a:off x="912992" y="137082"/>
              <a:ext cx="287280" cy="111967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6" name="Straight Connector 585">
              <a:extLst>
                <a:ext uri="{FF2B5EF4-FFF2-40B4-BE49-F238E27FC236}">
                  <a16:creationId xmlns:a16="http://schemas.microsoft.com/office/drawing/2014/main" id="{96221116-165D-F74A-E680-4CBECFCD0C80}"/>
                </a:ext>
              </a:extLst>
            </p:cNvPr>
            <p:cNvSpPr/>
            <p:nvPr/>
          </p:nvSpPr>
          <p:spPr>
            <a:xfrm>
              <a:off x="914513" y="138575"/>
              <a:ext cx="280828" cy="3702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7" name="Straight Connector 586">
              <a:extLst>
                <a:ext uri="{FF2B5EF4-FFF2-40B4-BE49-F238E27FC236}">
                  <a16:creationId xmlns:a16="http://schemas.microsoft.com/office/drawing/2014/main" id="{A56308DB-E217-5E65-F670-2162D18ACA67}"/>
                </a:ext>
              </a:extLst>
            </p:cNvPr>
            <p:cNvSpPr/>
            <p:nvPr/>
          </p:nvSpPr>
          <p:spPr>
            <a:xfrm flipV="1">
              <a:off x="912992" y="510697"/>
              <a:ext cx="281640" cy="37244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8" name="Straight Connector 587">
              <a:extLst>
                <a:ext uri="{FF2B5EF4-FFF2-40B4-BE49-F238E27FC236}">
                  <a16:creationId xmlns:a16="http://schemas.microsoft.com/office/drawing/2014/main" id="{4D700172-A735-D06F-24DE-FEEC4B79451D}"/>
                </a:ext>
              </a:extLst>
            </p:cNvPr>
            <p:cNvSpPr/>
            <p:nvPr/>
          </p:nvSpPr>
          <p:spPr>
            <a:xfrm>
              <a:off x="914613" y="137120"/>
              <a:ext cx="281823" cy="7465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9" name="Straight Connector 588">
              <a:extLst>
                <a:ext uri="{FF2B5EF4-FFF2-40B4-BE49-F238E27FC236}">
                  <a16:creationId xmlns:a16="http://schemas.microsoft.com/office/drawing/2014/main" id="{1BD6B919-5C08-4CFA-6085-9718CF535F03}"/>
                </a:ext>
              </a:extLst>
            </p:cNvPr>
            <p:cNvSpPr/>
            <p:nvPr/>
          </p:nvSpPr>
          <p:spPr>
            <a:xfrm>
              <a:off x="914637" y="133406"/>
              <a:ext cx="281767" cy="112492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0" name="Straight Connector 589">
              <a:extLst>
                <a:ext uri="{FF2B5EF4-FFF2-40B4-BE49-F238E27FC236}">
                  <a16:creationId xmlns:a16="http://schemas.microsoft.com/office/drawing/2014/main" id="{9EA8832C-4845-6077-500C-6E0DE1CDD9EC}"/>
                </a:ext>
              </a:extLst>
            </p:cNvPr>
            <p:cNvSpPr/>
            <p:nvPr/>
          </p:nvSpPr>
          <p:spPr>
            <a:xfrm>
              <a:off x="913698" y="510292"/>
              <a:ext cx="281642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1" name="Straight Connector 590">
              <a:extLst>
                <a:ext uri="{FF2B5EF4-FFF2-40B4-BE49-F238E27FC236}">
                  <a16:creationId xmlns:a16="http://schemas.microsoft.com/office/drawing/2014/main" id="{232E12A2-E4B2-D581-C036-2AAA41A07994}"/>
                </a:ext>
              </a:extLst>
            </p:cNvPr>
            <p:cNvSpPr/>
            <p:nvPr/>
          </p:nvSpPr>
          <p:spPr>
            <a:xfrm>
              <a:off x="912952" y="509024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2" name="Straight Connector 591">
              <a:extLst>
                <a:ext uri="{FF2B5EF4-FFF2-40B4-BE49-F238E27FC236}">
                  <a16:creationId xmlns:a16="http://schemas.microsoft.com/office/drawing/2014/main" id="{EE859F57-1A3B-9A49-4C17-8A0AB73408BA}"/>
                </a:ext>
              </a:extLst>
            </p:cNvPr>
            <p:cNvSpPr/>
            <p:nvPr/>
          </p:nvSpPr>
          <p:spPr>
            <a:xfrm>
              <a:off x="914461" y="884193"/>
              <a:ext cx="282099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3" name="Straight Connector 592">
              <a:extLst>
                <a:ext uri="{FF2B5EF4-FFF2-40B4-BE49-F238E27FC236}">
                  <a16:creationId xmlns:a16="http://schemas.microsoft.com/office/drawing/2014/main" id="{36EB52C0-68C8-D4EF-EB61-AD76AEC609DE}"/>
                </a:ext>
              </a:extLst>
            </p:cNvPr>
            <p:cNvSpPr/>
            <p:nvPr/>
          </p:nvSpPr>
          <p:spPr>
            <a:xfrm flipH="1">
              <a:off x="910170" y="882304"/>
              <a:ext cx="286395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4" name="Straight Connector 524">
              <a:extLst>
                <a:ext uri="{FF2B5EF4-FFF2-40B4-BE49-F238E27FC236}">
                  <a16:creationId xmlns:a16="http://schemas.microsoft.com/office/drawing/2014/main" id="{E16C2B93-D887-6346-7787-493E6A1C366D}"/>
                </a:ext>
              </a:extLst>
            </p:cNvPr>
            <p:cNvSpPr/>
            <p:nvPr/>
          </p:nvSpPr>
          <p:spPr>
            <a:xfrm flipH="1" flipV="1">
              <a:off x="1660941" y="51008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5" name="Straight Connector 541">
              <a:extLst>
                <a:ext uri="{FF2B5EF4-FFF2-40B4-BE49-F238E27FC236}">
                  <a16:creationId xmlns:a16="http://schemas.microsoft.com/office/drawing/2014/main" id="{30D84376-E3D7-4A7A-60A6-DF7E58564F6C}"/>
                </a:ext>
              </a:extLst>
            </p:cNvPr>
            <p:cNvSpPr/>
            <p:nvPr/>
          </p:nvSpPr>
          <p:spPr>
            <a:xfrm flipH="1">
              <a:off x="1660941" y="883292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6" name="Straight Connector 554">
              <a:extLst>
                <a:ext uri="{FF2B5EF4-FFF2-40B4-BE49-F238E27FC236}">
                  <a16:creationId xmlns:a16="http://schemas.microsoft.com/office/drawing/2014/main" id="{23A430FB-037D-3466-5823-EC5B65AF69B0}"/>
                </a:ext>
              </a:extLst>
            </p:cNvPr>
            <p:cNvSpPr/>
            <p:nvPr/>
          </p:nvSpPr>
          <p:spPr>
            <a:xfrm flipH="1">
              <a:off x="1660941" y="1256504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7" name="Straight Connector 567">
              <a:extLst>
                <a:ext uri="{FF2B5EF4-FFF2-40B4-BE49-F238E27FC236}">
                  <a16:creationId xmlns:a16="http://schemas.microsoft.com/office/drawing/2014/main" id="{7519CC3D-F832-55B8-870E-98EEF974528F}"/>
                </a:ext>
              </a:extLst>
            </p:cNvPr>
            <p:cNvSpPr/>
            <p:nvPr/>
          </p:nvSpPr>
          <p:spPr>
            <a:xfrm flipV="1">
              <a:off x="1664639" y="138324"/>
              <a:ext cx="627988" cy="37005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8" name="Straight Connector 568">
              <a:extLst>
                <a:ext uri="{FF2B5EF4-FFF2-40B4-BE49-F238E27FC236}">
                  <a16:creationId xmlns:a16="http://schemas.microsoft.com/office/drawing/2014/main" id="{71A1D2B7-E2F2-2DDF-594F-9911AE81A95F}"/>
                </a:ext>
              </a:extLst>
            </p:cNvPr>
            <p:cNvSpPr/>
            <p:nvPr/>
          </p:nvSpPr>
          <p:spPr>
            <a:xfrm flipV="1">
              <a:off x="1660941" y="13686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49" name="Straight Connector 569">
              <a:extLst>
                <a:ext uri="{FF2B5EF4-FFF2-40B4-BE49-F238E27FC236}">
                  <a16:creationId xmlns:a16="http://schemas.microsoft.com/office/drawing/2014/main" id="{E87232EC-8977-8BEB-2104-FE304202E17D}"/>
                </a:ext>
              </a:extLst>
            </p:cNvPr>
            <p:cNvSpPr/>
            <p:nvPr/>
          </p:nvSpPr>
          <p:spPr>
            <a:xfrm flipV="1">
              <a:off x="1660941" y="510041"/>
              <a:ext cx="631685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0" name="Straight Connector 570">
              <a:extLst>
                <a:ext uri="{FF2B5EF4-FFF2-40B4-BE49-F238E27FC236}">
                  <a16:creationId xmlns:a16="http://schemas.microsoft.com/office/drawing/2014/main" id="{8B510D20-C090-B423-5133-4B07BBACA672}"/>
                </a:ext>
              </a:extLst>
            </p:cNvPr>
            <p:cNvSpPr/>
            <p:nvPr/>
          </p:nvSpPr>
          <p:spPr>
            <a:xfrm flipV="1">
              <a:off x="1660941" y="883292"/>
              <a:ext cx="631685" cy="37421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1" name="Straight Connector 571">
              <a:extLst>
                <a:ext uri="{FF2B5EF4-FFF2-40B4-BE49-F238E27FC236}">
                  <a16:creationId xmlns:a16="http://schemas.microsoft.com/office/drawing/2014/main" id="{31FEEAE7-DA49-2C5E-F736-D66BA199BD97}"/>
                </a:ext>
              </a:extLst>
            </p:cNvPr>
            <p:cNvSpPr/>
            <p:nvPr/>
          </p:nvSpPr>
          <p:spPr>
            <a:xfrm flipV="1">
              <a:off x="1660941" y="510081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2" name="Straight Connector 572">
              <a:extLst>
                <a:ext uri="{FF2B5EF4-FFF2-40B4-BE49-F238E27FC236}">
                  <a16:creationId xmlns:a16="http://schemas.microsoft.com/office/drawing/2014/main" id="{4FB61303-C568-5CA2-E4A2-730E68906F0B}"/>
                </a:ext>
              </a:extLst>
            </p:cNvPr>
            <p:cNvSpPr/>
            <p:nvPr/>
          </p:nvSpPr>
          <p:spPr>
            <a:xfrm flipV="1">
              <a:off x="1660941" y="136829"/>
              <a:ext cx="631686" cy="11210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3" name="Straight Connector 577">
              <a:extLst>
                <a:ext uri="{FF2B5EF4-FFF2-40B4-BE49-F238E27FC236}">
                  <a16:creationId xmlns:a16="http://schemas.microsoft.com/office/drawing/2014/main" id="{5E0C5E83-2B12-73F6-D0BF-9F37D14B82E4}"/>
                </a:ext>
              </a:extLst>
            </p:cNvPr>
            <p:cNvSpPr/>
            <p:nvPr/>
          </p:nvSpPr>
          <p:spPr>
            <a:xfrm flipH="1" flipV="1">
              <a:off x="1663590" y="13630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4" name="Straight Connector 578">
              <a:extLst>
                <a:ext uri="{FF2B5EF4-FFF2-40B4-BE49-F238E27FC236}">
                  <a16:creationId xmlns:a16="http://schemas.microsoft.com/office/drawing/2014/main" id="{B29AA1DA-348A-60EE-C65E-63891B1BF94D}"/>
                </a:ext>
              </a:extLst>
            </p:cNvPr>
            <p:cNvSpPr/>
            <p:nvPr/>
          </p:nvSpPr>
          <p:spPr>
            <a:xfrm>
              <a:off x="1663590" y="139056"/>
              <a:ext cx="630085" cy="7449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5" name="Straight Connector 579">
              <a:extLst>
                <a:ext uri="{FF2B5EF4-FFF2-40B4-BE49-F238E27FC236}">
                  <a16:creationId xmlns:a16="http://schemas.microsoft.com/office/drawing/2014/main" id="{AE394F1A-9BD2-8397-B82F-8EE13CACE19B}"/>
                </a:ext>
              </a:extLst>
            </p:cNvPr>
            <p:cNvSpPr/>
            <p:nvPr/>
          </p:nvSpPr>
          <p:spPr>
            <a:xfrm>
              <a:off x="1663590" y="136307"/>
              <a:ext cx="630085" cy="11207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6" name="Straight Connector 580">
              <a:extLst>
                <a:ext uri="{FF2B5EF4-FFF2-40B4-BE49-F238E27FC236}">
                  <a16:creationId xmlns:a16="http://schemas.microsoft.com/office/drawing/2014/main" id="{72772E4F-17BF-5645-E220-6E2FE387313B}"/>
                </a:ext>
              </a:extLst>
            </p:cNvPr>
            <p:cNvSpPr/>
            <p:nvPr/>
          </p:nvSpPr>
          <p:spPr>
            <a:xfrm flipH="1" flipV="1">
              <a:off x="1661907" y="51073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7" name="Straight Connector 581">
              <a:extLst>
                <a:ext uri="{FF2B5EF4-FFF2-40B4-BE49-F238E27FC236}">
                  <a16:creationId xmlns:a16="http://schemas.microsoft.com/office/drawing/2014/main" id="{63B0E9B5-3E8C-6112-2847-4269F72BB648}"/>
                </a:ext>
              </a:extLst>
            </p:cNvPr>
            <p:cNvSpPr/>
            <p:nvPr/>
          </p:nvSpPr>
          <p:spPr>
            <a:xfrm flipH="1" flipV="1">
              <a:off x="1660942" y="88329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8" name="Straight Connector 582">
              <a:extLst>
                <a:ext uri="{FF2B5EF4-FFF2-40B4-BE49-F238E27FC236}">
                  <a16:creationId xmlns:a16="http://schemas.microsoft.com/office/drawing/2014/main" id="{B3CC9181-35C5-539F-A818-6F1592C84A8A}"/>
                </a:ext>
              </a:extLst>
            </p:cNvPr>
            <p:cNvSpPr/>
            <p:nvPr/>
          </p:nvSpPr>
          <p:spPr>
            <a:xfrm flipH="1" flipV="1">
              <a:off x="1662344" y="50902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59" name="Straight Connector 523">
              <a:extLst>
                <a:ext uri="{FF2B5EF4-FFF2-40B4-BE49-F238E27FC236}">
                  <a16:creationId xmlns:a16="http://schemas.microsoft.com/office/drawing/2014/main" id="{094E798B-3CA5-CE85-D7D4-9B8155563AEE}"/>
                </a:ext>
              </a:extLst>
            </p:cNvPr>
            <p:cNvSpPr/>
            <p:nvPr/>
          </p:nvSpPr>
          <p:spPr>
            <a:xfrm flipH="1">
              <a:off x="128330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0" name="Straight Connector 540">
              <a:extLst>
                <a:ext uri="{FF2B5EF4-FFF2-40B4-BE49-F238E27FC236}">
                  <a16:creationId xmlns:a16="http://schemas.microsoft.com/office/drawing/2014/main" id="{3FC55CBF-2D6B-3358-FA3A-5D3C5B9C3921}"/>
                </a:ext>
              </a:extLst>
            </p:cNvPr>
            <p:cNvSpPr/>
            <p:nvPr/>
          </p:nvSpPr>
          <p:spPr>
            <a:xfrm flipH="1">
              <a:off x="128489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1" name="Straight Connector 553">
              <a:extLst>
                <a:ext uri="{FF2B5EF4-FFF2-40B4-BE49-F238E27FC236}">
                  <a16:creationId xmlns:a16="http://schemas.microsoft.com/office/drawing/2014/main" id="{3519F4D3-2432-F448-AC2C-3B2BD297757C}"/>
                </a:ext>
              </a:extLst>
            </p:cNvPr>
            <p:cNvSpPr/>
            <p:nvPr/>
          </p:nvSpPr>
          <p:spPr>
            <a:xfrm flipH="1">
              <a:off x="128160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2" name="Straight Connector 565">
              <a:extLst>
                <a:ext uri="{FF2B5EF4-FFF2-40B4-BE49-F238E27FC236}">
                  <a16:creationId xmlns:a16="http://schemas.microsoft.com/office/drawing/2014/main" id="{DC25336D-2DDA-6433-99BF-097B4394F335}"/>
                </a:ext>
              </a:extLst>
            </p:cNvPr>
            <p:cNvSpPr/>
            <p:nvPr/>
          </p:nvSpPr>
          <p:spPr>
            <a:xfrm flipV="1">
              <a:off x="128489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3" name="Straight Connector 566">
              <a:extLst>
                <a:ext uri="{FF2B5EF4-FFF2-40B4-BE49-F238E27FC236}">
                  <a16:creationId xmlns:a16="http://schemas.microsoft.com/office/drawing/2014/main" id="{DD76FB88-513A-3F78-7D47-C06775BAAC70}"/>
                </a:ext>
              </a:extLst>
            </p:cNvPr>
            <p:cNvSpPr/>
            <p:nvPr/>
          </p:nvSpPr>
          <p:spPr>
            <a:xfrm flipV="1">
              <a:off x="1286521" y="511509"/>
              <a:ext cx="281820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4" name="Straight Connector 583">
              <a:extLst>
                <a:ext uri="{FF2B5EF4-FFF2-40B4-BE49-F238E27FC236}">
                  <a16:creationId xmlns:a16="http://schemas.microsoft.com/office/drawing/2014/main" id="{88655D01-C790-8B83-C423-92EAE486CAA3}"/>
                </a:ext>
              </a:extLst>
            </p:cNvPr>
            <p:cNvSpPr/>
            <p:nvPr/>
          </p:nvSpPr>
          <p:spPr>
            <a:xfrm flipV="1">
              <a:off x="1286521" y="137359"/>
              <a:ext cx="281948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5" name="Straight Connector 584">
              <a:extLst>
                <a:ext uri="{FF2B5EF4-FFF2-40B4-BE49-F238E27FC236}">
                  <a16:creationId xmlns:a16="http://schemas.microsoft.com/office/drawing/2014/main" id="{8A9E1C74-0E09-DD3A-9F02-17C6DDFA2585}"/>
                </a:ext>
              </a:extLst>
            </p:cNvPr>
            <p:cNvSpPr/>
            <p:nvPr/>
          </p:nvSpPr>
          <p:spPr>
            <a:xfrm flipV="1">
              <a:off x="128489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6" name="Straight Connector 585">
              <a:extLst>
                <a:ext uri="{FF2B5EF4-FFF2-40B4-BE49-F238E27FC236}">
                  <a16:creationId xmlns:a16="http://schemas.microsoft.com/office/drawing/2014/main" id="{C2E10472-EFFC-9BB3-F564-5614776591C6}"/>
                </a:ext>
              </a:extLst>
            </p:cNvPr>
            <p:cNvSpPr/>
            <p:nvPr/>
          </p:nvSpPr>
          <p:spPr>
            <a:xfrm>
              <a:off x="128641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7" name="Straight Connector 586">
              <a:extLst>
                <a:ext uri="{FF2B5EF4-FFF2-40B4-BE49-F238E27FC236}">
                  <a16:creationId xmlns:a16="http://schemas.microsoft.com/office/drawing/2014/main" id="{A2201995-AF9A-E3AD-D5F3-A16E9F4E4A9E}"/>
                </a:ext>
              </a:extLst>
            </p:cNvPr>
            <p:cNvSpPr/>
            <p:nvPr/>
          </p:nvSpPr>
          <p:spPr>
            <a:xfrm flipV="1">
              <a:off x="1284898" y="510570"/>
              <a:ext cx="281639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8" name="Straight Connector 587">
              <a:extLst>
                <a:ext uri="{FF2B5EF4-FFF2-40B4-BE49-F238E27FC236}">
                  <a16:creationId xmlns:a16="http://schemas.microsoft.com/office/drawing/2014/main" id="{831597C0-E9FF-1C0E-21D4-1CEE4EC6C782}"/>
                </a:ext>
              </a:extLst>
            </p:cNvPr>
            <p:cNvSpPr/>
            <p:nvPr/>
          </p:nvSpPr>
          <p:spPr>
            <a:xfrm>
              <a:off x="128651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9" name="Straight Connector 588">
              <a:extLst>
                <a:ext uri="{FF2B5EF4-FFF2-40B4-BE49-F238E27FC236}">
                  <a16:creationId xmlns:a16="http://schemas.microsoft.com/office/drawing/2014/main" id="{202BDDD8-D266-886D-AB2A-B79EE410266E}"/>
                </a:ext>
              </a:extLst>
            </p:cNvPr>
            <p:cNvSpPr/>
            <p:nvPr/>
          </p:nvSpPr>
          <p:spPr>
            <a:xfrm>
              <a:off x="1286543" y="133280"/>
              <a:ext cx="281767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0" name="Straight Connector 589">
              <a:extLst>
                <a:ext uri="{FF2B5EF4-FFF2-40B4-BE49-F238E27FC236}">
                  <a16:creationId xmlns:a16="http://schemas.microsoft.com/office/drawing/2014/main" id="{C2170819-9C92-7DAB-2DDA-D5E350900C78}"/>
                </a:ext>
              </a:extLst>
            </p:cNvPr>
            <p:cNvSpPr/>
            <p:nvPr/>
          </p:nvSpPr>
          <p:spPr>
            <a:xfrm>
              <a:off x="128560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1" name="Straight Connector 590">
              <a:extLst>
                <a:ext uri="{FF2B5EF4-FFF2-40B4-BE49-F238E27FC236}">
                  <a16:creationId xmlns:a16="http://schemas.microsoft.com/office/drawing/2014/main" id="{40B790E9-D715-ABDB-DF67-9A0AC8284108}"/>
                </a:ext>
              </a:extLst>
            </p:cNvPr>
            <p:cNvSpPr/>
            <p:nvPr/>
          </p:nvSpPr>
          <p:spPr>
            <a:xfrm>
              <a:off x="1284858" y="508897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2" name="Straight Connector 591">
              <a:extLst>
                <a:ext uri="{FF2B5EF4-FFF2-40B4-BE49-F238E27FC236}">
                  <a16:creationId xmlns:a16="http://schemas.microsoft.com/office/drawing/2014/main" id="{71BA8A60-2D2D-4A2A-9E3F-0B1373FB2901}"/>
                </a:ext>
              </a:extLst>
            </p:cNvPr>
            <p:cNvSpPr/>
            <p:nvPr/>
          </p:nvSpPr>
          <p:spPr>
            <a:xfrm>
              <a:off x="128636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3" name="Straight Connector 592">
              <a:extLst>
                <a:ext uri="{FF2B5EF4-FFF2-40B4-BE49-F238E27FC236}">
                  <a16:creationId xmlns:a16="http://schemas.microsoft.com/office/drawing/2014/main" id="{72A4426C-ECF6-C67B-20BF-CE51792AEA3A}"/>
                </a:ext>
              </a:extLst>
            </p:cNvPr>
            <p:cNvSpPr/>
            <p:nvPr/>
          </p:nvSpPr>
          <p:spPr>
            <a:xfrm flipH="1">
              <a:off x="128207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4" name="Oval 502">
              <a:extLst>
                <a:ext uri="{FF2B5EF4-FFF2-40B4-BE49-F238E27FC236}">
                  <a16:creationId xmlns:a16="http://schemas.microsoft.com/office/drawing/2014/main" id="{EA0F63F1-3D55-271D-CAF3-0B54A78A0483}"/>
                </a:ext>
              </a:extLst>
            </p:cNvPr>
            <p:cNvSpPr/>
            <p:nvPr/>
          </p:nvSpPr>
          <p:spPr>
            <a:xfrm flipH="1">
              <a:off x="1561828" y="79336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75" name="Oval 509">
              <a:extLst>
                <a:ext uri="{FF2B5EF4-FFF2-40B4-BE49-F238E27FC236}">
                  <a16:creationId xmlns:a16="http://schemas.microsoft.com/office/drawing/2014/main" id="{1D15D0AD-EA51-83D2-970B-0825DD1F34C8}"/>
                </a:ext>
              </a:extLst>
            </p:cNvPr>
            <p:cNvSpPr/>
            <p:nvPr/>
          </p:nvSpPr>
          <p:spPr>
            <a:xfrm flipH="1">
              <a:off x="1492619" y="383803"/>
              <a:ext cx="255973" cy="2559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76" name="Oval 545">
              <a:extLst>
                <a:ext uri="{FF2B5EF4-FFF2-40B4-BE49-F238E27FC236}">
                  <a16:creationId xmlns:a16="http://schemas.microsoft.com/office/drawing/2014/main" id="{7D68F866-AF35-834F-52E6-31865C474DCF}"/>
                </a:ext>
              </a:extLst>
            </p:cNvPr>
            <p:cNvSpPr/>
            <p:nvPr/>
          </p:nvSpPr>
          <p:spPr>
            <a:xfrm flipH="1">
              <a:off x="1527230" y="1145599"/>
              <a:ext cx="202338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77" name="Oval 532">
              <a:extLst>
                <a:ext uri="{FF2B5EF4-FFF2-40B4-BE49-F238E27FC236}">
                  <a16:creationId xmlns:a16="http://schemas.microsoft.com/office/drawing/2014/main" id="{6D72D3EE-957E-C0DB-5E03-BB63BB71840D}"/>
                </a:ext>
              </a:extLst>
            </p:cNvPr>
            <p:cNvSpPr/>
            <p:nvPr/>
          </p:nvSpPr>
          <p:spPr>
            <a:xfrm flipH="1">
              <a:off x="1549869" y="812807"/>
              <a:ext cx="141473" cy="1414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78" name="Oval 503">
              <a:extLst>
                <a:ext uri="{FF2B5EF4-FFF2-40B4-BE49-F238E27FC236}">
                  <a16:creationId xmlns:a16="http://schemas.microsoft.com/office/drawing/2014/main" id="{847ACD3B-09C8-AAEE-6594-D8F97E99051F}"/>
                </a:ext>
              </a:extLst>
            </p:cNvPr>
            <p:cNvSpPr/>
            <p:nvPr/>
          </p:nvSpPr>
          <p:spPr>
            <a:xfrm flipH="1">
              <a:off x="1156548" y="55690"/>
              <a:ext cx="164847" cy="16484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79" name="Oval 510">
              <a:extLst>
                <a:ext uri="{FF2B5EF4-FFF2-40B4-BE49-F238E27FC236}">
                  <a16:creationId xmlns:a16="http://schemas.microsoft.com/office/drawing/2014/main" id="{D076705F-A995-C7B5-9636-E23B15944ECF}"/>
                </a:ext>
              </a:extLst>
            </p:cNvPr>
            <p:cNvSpPr/>
            <p:nvPr/>
          </p:nvSpPr>
          <p:spPr>
            <a:xfrm flipH="1">
              <a:off x="1161012" y="433829"/>
              <a:ext cx="155920" cy="15592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0" name="Oval 533">
              <a:extLst>
                <a:ext uri="{FF2B5EF4-FFF2-40B4-BE49-F238E27FC236}">
                  <a16:creationId xmlns:a16="http://schemas.microsoft.com/office/drawing/2014/main" id="{B73343A2-3563-5C55-3007-34E0236BD2B3}"/>
                </a:ext>
              </a:extLst>
            </p:cNvPr>
            <p:cNvSpPr/>
            <p:nvPr/>
          </p:nvSpPr>
          <p:spPr>
            <a:xfrm flipH="1">
              <a:off x="1135311" y="783444"/>
              <a:ext cx="200198" cy="20019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1" name="Oval 546">
              <a:extLst>
                <a:ext uri="{FF2B5EF4-FFF2-40B4-BE49-F238E27FC236}">
                  <a16:creationId xmlns:a16="http://schemas.microsoft.com/office/drawing/2014/main" id="{449AE3EA-06E3-79C4-FC00-00655A5EFC69}"/>
                </a:ext>
              </a:extLst>
            </p:cNvPr>
            <p:cNvSpPr/>
            <p:nvPr/>
          </p:nvSpPr>
          <p:spPr>
            <a:xfrm flipH="1">
              <a:off x="1180194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2" name="Oval 547">
              <a:extLst>
                <a:ext uri="{FF2B5EF4-FFF2-40B4-BE49-F238E27FC236}">
                  <a16:creationId xmlns:a16="http://schemas.microsoft.com/office/drawing/2014/main" id="{987962A3-0B0C-F5FD-FF67-0B269FDE18A1}"/>
                </a:ext>
              </a:extLst>
            </p:cNvPr>
            <p:cNvSpPr/>
            <p:nvPr/>
          </p:nvSpPr>
          <p:spPr>
            <a:xfrm flipH="1">
              <a:off x="766315" y="1150627"/>
              <a:ext cx="192280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3" name="Oval 504">
              <a:extLst>
                <a:ext uri="{FF2B5EF4-FFF2-40B4-BE49-F238E27FC236}">
                  <a16:creationId xmlns:a16="http://schemas.microsoft.com/office/drawing/2014/main" id="{0FEC61E6-F89B-B73F-9BCC-3700F3E9C665}"/>
                </a:ext>
              </a:extLst>
            </p:cNvPr>
            <p:cNvSpPr/>
            <p:nvPr/>
          </p:nvSpPr>
          <p:spPr>
            <a:xfrm flipH="1">
              <a:off x="728715" y="4374"/>
              <a:ext cx="267480" cy="267480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4" name="Oval 511">
              <a:extLst>
                <a:ext uri="{FF2B5EF4-FFF2-40B4-BE49-F238E27FC236}">
                  <a16:creationId xmlns:a16="http://schemas.microsoft.com/office/drawing/2014/main" id="{2D2CD6CE-65E1-8443-B98C-66B2AA1F8089}"/>
                </a:ext>
              </a:extLst>
            </p:cNvPr>
            <p:cNvSpPr/>
            <p:nvPr/>
          </p:nvSpPr>
          <p:spPr>
            <a:xfrm flipH="1">
              <a:off x="803578" y="453209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5" name="Oval 534">
              <a:extLst>
                <a:ext uri="{FF2B5EF4-FFF2-40B4-BE49-F238E27FC236}">
                  <a16:creationId xmlns:a16="http://schemas.microsoft.com/office/drawing/2014/main" id="{1B859318-0520-C2FB-64C6-69E55806144E}"/>
                </a:ext>
              </a:extLst>
            </p:cNvPr>
            <p:cNvSpPr/>
            <p:nvPr/>
          </p:nvSpPr>
          <p:spPr>
            <a:xfrm flipH="1">
              <a:off x="772293" y="802177"/>
              <a:ext cx="162733" cy="162733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6" name="Oval 505">
              <a:extLst>
                <a:ext uri="{FF2B5EF4-FFF2-40B4-BE49-F238E27FC236}">
                  <a16:creationId xmlns:a16="http://schemas.microsoft.com/office/drawing/2014/main" id="{952054C8-9B94-0ADD-51A6-E885B7BBC204}"/>
                </a:ext>
              </a:extLst>
            </p:cNvPr>
            <p:cNvSpPr/>
            <p:nvPr/>
          </p:nvSpPr>
          <p:spPr>
            <a:xfrm flipH="1">
              <a:off x="62647" y="68296"/>
              <a:ext cx="152115" cy="152115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7" name="Oval 512">
              <a:extLst>
                <a:ext uri="{FF2B5EF4-FFF2-40B4-BE49-F238E27FC236}">
                  <a16:creationId xmlns:a16="http://schemas.microsoft.com/office/drawing/2014/main" id="{B7FEC9DB-90A5-26EE-31FC-AD71DFCA3389}"/>
                </a:ext>
              </a:extLst>
            </p:cNvPr>
            <p:cNvSpPr/>
            <p:nvPr/>
          </p:nvSpPr>
          <p:spPr>
            <a:xfrm flipH="1">
              <a:off x="37535" y="409163"/>
              <a:ext cx="202339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8" name="Oval 535">
              <a:extLst>
                <a:ext uri="{FF2B5EF4-FFF2-40B4-BE49-F238E27FC236}">
                  <a16:creationId xmlns:a16="http://schemas.microsoft.com/office/drawing/2014/main" id="{971EF613-62AC-A27A-1FB0-A9E3639CB84E}"/>
                </a:ext>
              </a:extLst>
            </p:cNvPr>
            <p:cNvSpPr/>
            <p:nvPr/>
          </p:nvSpPr>
          <p:spPr>
            <a:xfrm flipH="1">
              <a:off x="79927" y="824765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89" name="Oval 548">
              <a:extLst>
                <a:ext uri="{FF2B5EF4-FFF2-40B4-BE49-F238E27FC236}">
                  <a16:creationId xmlns:a16="http://schemas.microsoft.com/office/drawing/2014/main" id="{3EFE113C-7EF7-CFF9-77AB-6B21701DE6DC}"/>
                </a:ext>
              </a:extLst>
            </p:cNvPr>
            <p:cNvSpPr/>
            <p:nvPr/>
          </p:nvSpPr>
          <p:spPr>
            <a:xfrm flipH="1">
              <a:off x="4965" y="1113028"/>
              <a:ext cx="267479" cy="267480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90" name="Straight Connector 523">
              <a:extLst>
                <a:ext uri="{FF2B5EF4-FFF2-40B4-BE49-F238E27FC236}">
                  <a16:creationId xmlns:a16="http://schemas.microsoft.com/office/drawing/2014/main" id="{EC082CA9-BE3C-6AEA-B4DA-5D0E5112FE7C}"/>
                </a:ext>
              </a:extLst>
            </p:cNvPr>
            <p:cNvSpPr/>
            <p:nvPr/>
          </p:nvSpPr>
          <p:spPr>
            <a:xfrm flipH="1">
              <a:off x="237999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1" name="Straight Connector 540">
              <a:extLst>
                <a:ext uri="{FF2B5EF4-FFF2-40B4-BE49-F238E27FC236}">
                  <a16:creationId xmlns:a16="http://schemas.microsoft.com/office/drawing/2014/main" id="{9D23BB8D-362E-4F47-96EC-9DA52BC96F33}"/>
                </a:ext>
              </a:extLst>
            </p:cNvPr>
            <p:cNvSpPr/>
            <p:nvPr/>
          </p:nvSpPr>
          <p:spPr>
            <a:xfrm flipH="1">
              <a:off x="238158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2" name="Straight Connector 553">
              <a:extLst>
                <a:ext uri="{FF2B5EF4-FFF2-40B4-BE49-F238E27FC236}">
                  <a16:creationId xmlns:a16="http://schemas.microsoft.com/office/drawing/2014/main" id="{93C0C78A-F057-3933-ACE7-3F60C4A8D0B2}"/>
                </a:ext>
              </a:extLst>
            </p:cNvPr>
            <p:cNvSpPr/>
            <p:nvPr/>
          </p:nvSpPr>
          <p:spPr>
            <a:xfrm flipH="1">
              <a:off x="237829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3" name="Straight Connector 565">
              <a:extLst>
                <a:ext uri="{FF2B5EF4-FFF2-40B4-BE49-F238E27FC236}">
                  <a16:creationId xmlns:a16="http://schemas.microsoft.com/office/drawing/2014/main" id="{B7D5FC4C-2EB0-2999-7BB5-E0A6FFBF4D1C}"/>
                </a:ext>
              </a:extLst>
            </p:cNvPr>
            <p:cNvSpPr/>
            <p:nvPr/>
          </p:nvSpPr>
          <p:spPr>
            <a:xfrm flipV="1">
              <a:off x="238158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4" name="Straight Connector 566">
              <a:extLst>
                <a:ext uri="{FF2B5EF4-FFF2-40B4-BE49-F238E27FC236}">
                  <a16:creationId xmlns:a16="http://schemas.microsoft.com/office/drawing/2014/main" id="{F85C0551-EBB5-EB23-21EB-D61E81137CCB}"/>
                </a:ext>
              </a:extLst>
            </p:cNvPr>
            <p:cNvSpPr/>
            <p:nvPr/>
          </p:nvSpPr>
          <p:spPr>
            <a:xfrm flipV="1">
              <a:off x="2383211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5" name="Straight Connector 583">
              <a:extLst>
                <a:ext uri="{FF2B5EF4-FFF2-40B4-BE49-F238E27FC236}">
                  <a16:creationId xmlns:a16="http://schemas.microsoft.com/office/drawing/2014/main" id="{2FF91927-5784-7BE2-EEA6-FAB22DF7BAF0}"/>
                </a:ext>
              </a:extLst>
            </p:cNvPr>
            <p:cNvSpPr/>
            <p:nvPr/>
          </p:nvSpPr>
          <p:spPr>
            <a:xfrm flipV="1">
              <a:off x="2383211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6" name="Straight Connector 584">
              <a:extLst>
                <a:ext uri="{FF2B5EF4-FFF2-40B4-BE49-F238E27FC236}">
                  <a16:creationId xmlns:a16="http://schemas.microsoft.com/office/drawing/2014/main" id="{395C34DC-05C7-C52E-88CF-263AF62CD743}"/>
                </a:ext>
              </a:extLst>
            </p:cNvPr>
            <p:cNvSpPr/>
            <p:nvPr/>
          </p:nvSpPr>
          <p:spPr>
            <a:xfrm flipV="1">
              <a:off x="238158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7" name="Straight Connector 585">
              <a:extLst>
                <a:ext uri="{FF2B5EF4-FFF2-40B4-BE49-F238E27FC236}">
                  <a16:creationId xmlns:a16="http://schemas.microsoft.com/office/drawing/2014/main" id="{4541D091-65D2-CD39-DA48-B8A95C1D2FFF}"/>
                </a:ext>
              </a:extLst>
            </p:cNvPr>
            <p:cNvSpPr/>
            <p:nvPr/>
          </p:nvSpPr>
          <p:spPr>
            <a:xfrm>
              <a:off x="238310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8" name="Straight Connector 586">
              <a:extLst>
                <a:ext uri="{FF2B5EF4-FFF2-40B4-BE49-F238E27FC236}">
                  <a16:creationId xmlns:a16="http://schemas.microsoft.com/office/drawing/2014/main" id="{D24B6E25-FEAA-9306-FB98-3400BB53BC92}"/>
                </a:ext>
              </a:extLst>
            </p:cNvPr>
            <p:cNvSpPr/>
            <p:nvPr/>
          </p:nvSpPr>
          <p:spPr>
            <a:xfrm flipV="1">
              <a:off x="2381588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9" name="Straight Connector 587">
              <a:extLst>
                <a:ext uri="{FF2B5EF4-FFF2-40B4-BE49-F238E27FC236}">
                  <a16:creationId xmlns:a16="http://schemas.microsoft.com/office/drawing/2014/main" id="{71C054CD-EDB1-68A2-4074-46E141F518E1}"/>
                </a:ext>
              </a:extLst>
            </p:cNvPr>
            <p:cNvSpPr/>
            <p:nvPr/>
          </p:nvSpPr>
          <p:spPr>
            <a:xfrm>
              <a:off x="238320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0" name="Straight Connector 588">
              <a:extLst>
                <a:ext uri="{FF2B5EF4-FFF2-40B4-BE49-F238E27FC236}">
                  <a16:creationId xmlns:a16="http://schemas.microsoft.com/office/drawing/2014/main" id="{CADB2B20-2F0C-3719-C4FB-31A725A0AE87}"/>
                </a:ext>
              </a:extLst>
            </p:cNvPr>
            <p:cNvSpPr/>
            <p:nvPr/>
          </p:nvSpPr>
          <p:spPr>
            <a:xfrm>
              <a:off x="2383233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1" name="Straight Connector 589">
              <a:extLst>
                <a:ext uri="{FF2B5EF4-FFF2-40B4-BE49-F238E27FC236}">
                  <a16:creationId xmlns:a16="http://schemas.microsoft.com/office/drawing/2014/main" id="{FB880DCA-7CB2-42A7-ECC2-739F971860A1}"/>
                </a:ext>
              </a:extLst>
            </p:cNvPr>
            <p:cNvSpPr/>
            <p:nvPr/>
          </p:nvSpPr>
          <p:spPr>
            <a:xfrm>
              <a:off x="238229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2" name="Straight Connector 590">
              <a:extLst>
                <a:ext uri="{FF2B5EF4-FFF2-40B4-BE49-F238E27FC236}">
                  <a16:creationId xmlns:a16="http://schemas.microsoft.com/office/drawing/2014/main" id="{AEAF1565-C9B8-3A85-71F0-A47D0DB3F6D7}"/>
                </a:ext>
              </a:extLst>
            </p:cNvPr>
            <p:cNvSpPr/>
            <p:nvPr/>
          </p:nvSpPr>
          <p:spPr>
            <a:xfrm>
              <a:off x="2381547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3" name="Straight Connector 591">
              <a:extLst>
                <a:ext uri="{FF2B5EF4-FFF2-40B4-BE49-F238E27FC236}">
                  <a16:creationId xmlns:a16="http://schemas.microsoft.com/office/drawing/2014/main" id="{2A533D8E-AA73-11E2-F5A6-870FC2D37DFE}"/>
                </a:ext>
              </a:extLst>
            </p:cNvPr>
            <p:cNvSpPr/>
            <p:nvPr/>
          </p:nvSpPr>
          <p:spPr>
            <a:xfrm>
              <a:off x="238305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4" name="Straight Connector 592">
              <a:extLst>
                <a:ext uri="{FF2B5EF4-FFF2-40B4-BE49-F238E27FC236}">
                  <a16:creationId xmlns:a16="http://schemas.microsoft.com/office/drawing/2014/main" id="{DA49A93A-549F-B426-2159-D4D68D3D3E84}"/>
                </a:ext>
              </a:extLst>
            </p:cNvPr>
            <p:cNvSpPr/>
            <p:nvPr/>
          </p:nvSpPr>
          <p:spPr>
            <a:xfrm flipH="1">
              <a:off x="237876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5" name="Straight Connector 523">
              <a:extLst>
                <a:ext uri="{FF2B5EF4-FFF2-40B4-BE49-F238E27FC236}">
                  <a16:creationId xmlns:a16="http://schemas.microsoft.com/office/drawing/2014/main" id="{C7A3AD71-50D1-22FB-F2FB-CA34966009AE}"/>
                </a:ext>
              </a:extLst>
            </p:cNvPr>
            <p:cNvSpPr/>
            <p:nvPr/>
          </p:nvSpPr>
          <p:spPr>
            <a:xfrm flipH="1">
              <a:off x="2752067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6" name="Straight Connector 540">
              <a:extLst>
                <a:ext uri="{FF2B5EF4-FFF2-40B4-BE49-F238E27FC236}">
                  <a16:creationId xmlns:a16="http://schemas.microsoft.com/office/drawing/2014/main" id="{A92CAF54-29E1-3F68-C319-7D767F61E1BA}"/>
                </a:ext>
              </a:extLst>
            </p:cNvPr>
            <p:cNvSpPr/>
            <p:nvPr/>
          </p:nvSpPr>
          <p:spPr>
            <a:xfrm flipH="1">
              <a:off x="2753655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7" name="Straight Connector 553">
              <a:extLst>
                <a:ext uri="{FF2B5EF4-FFF2-40B4-BE49-F238E27FC236}">
                  <a16:creationId xmlns:a16="http://schemas.microsoft.com/office/drawing/2014/main" id="{8C2A2F6E-72CD-BF2E-85AE-4758B6EC6AEB}"/>
                </a:ext>
              </a:extLst>
            </p:cNvPr>
            <p:cNvSpPr/>
            <p:nvPr/>
          </p:nvSpPr>
          <p:spPr>
            <a:xfrm flipH="1">
              <a:off x="2750363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8" name="Straight Connector 565">
              <a:extLst>
                <a:ext uri="{FF2B5EF4-FFF2-40B4-BE49-F238E27FC236}">
                  <a16:creationId xmlns:a16="http://schemas.microsoft.com/office/drawing/2014/main" id="{B936A9A6-937E-A611-A748-845452618E4A}"/>
                </a:ext>
              </a:extLst>
            </p:cNvPr>
            <p:cNvSpPr/>
            <p:nvPr/>
          </p:nvSpPr>
          <p:spPr>
            <a:xfrm flipV="1">
              <a:off x="2753656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9" name="Straight Connector 566">
              <a:extLst>
                <a:ext uri="{FF2B5EF4-FFF2-40B4-BE49-F238E27FC236}">
                  <a16:creationId xmlns:a16="http://schemas.microsoft.com/office/drawing/2014/main" id="{16F3A1E8-2ABB-902E-7820-2C82C56797F9}"/>
                </a:ext>
              </a:extLst>
            </p:cNvPr>
            <p:cNvSpPr/>
            <p:nvPr/>
          </p:nvSpPr>
          <p:spPr>
            <a:xfrm flipV="1">
              <a:off x="2755279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0" name="Straight Connector 583">
              <a:extLst>
                <a:ext uri="{FF2B5EF4-FFF2-40B4-BE49-F238E27FC236}">
                  <a16:creationId xmlns:a16="http://schemas.microsoft.com/office/drawing/2014/main" id="{285CAA52-8322-213F-9B0F-9EE806383804}"/>
                </a:ext>
              </a:extLst>
            </p:cNvPr>
            <p:cNvSpPr/>
            <p:nvPr/>
          </p:nvSpPr>
          <p:spPr>
            <a:xfrm flipV="1">
              <a:off x="2755279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1" name="Straight Connector 584">
              <a:extLst>
                <a:ext uri="{FF2B5EF4-FFF2-40B4-BE49-F238E27FC236}">
                  <a16:creationId xmlns:a16="http://schemas.microsoft.com/office/drawing/2014/main" id="{8CEEED79-7758-BA8A-413A-9A7C9DA1C080}"/>
                </a:ext>
              </a:extLst>
            </p:cNvPr>
            <p:cNvSpPr/>
            <p:nvPr/>
          </p:nvSpPr>
          <p:spPr>
            <a:xfrm flipV="1">
              <a:off x="2753656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2" name="Straight Connector 585">
              <a:extLst>
                <a:ext uri="{FF2B5EF4-FFF2-40B4-BE49-F238E27FC236}">
                  <a16:creationId xmlns:a16="http://schemas.microsoft.com/office/drawing/2014/main" id="{5C5C8006-F7BA-8052-8E50-702B571C3E24}"/>
                </a:ext>
              </a:extLst>
            </p:cNvPr>
            <p:cNvSpPr/>
            <p:nvPr/>
          </p:nvSpPr>
          <p:spPr>
            <a:xfrm>
              <a:off x="2755176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3" name="Straight Connector 586">
              <a:extLst>
                <a:ext uri="{FF2B5EF4-FFF2-40B4-BE49-F238E27FC236}">
                  <a16:creationId xmlns:a16="http://schemas.microsoft.com/office/drawing/2014/main" id="{491FB60A-063A-4A52-2E1B-1336CB858E01}"/>
                </a:ext>
              </a:extLst>
            </p:cNvPr>
            <p:cNvSpPr/>
            <p:nvPr/>
          </p:nvSpPr>
          <p:spPr>
            <a:xfrm flipV="1">
              <a:off x="2753656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4" name="Straight Connector 587">
              <a:extLst>
                <a:ext uri="{FF2B5EF4-FFF2-40B4-BE49-F238E27FC236}">
                  <a16:creationId xmlns:a16="http://schemas.microsoft.com/office/drawing/2014/main" id="{20FDC550-5125-13CB-C5EA-13317DCCE301}"/>
                </a:ext>
              </a:extLst>
            </p:cNvPr>
            <p:cNvSpPr/>
            <p:nvPr/>
          </p:nvSpPr>
          <p:spPr>
            <a:xfrm>
              <a:off x="2755277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5" name="Straight Connector 588">
              <a:extLst>
                <a:ext uri="{FF2B5EF4-FFF2-40B4-BE49-F238E27FC236}">
                  <a16:creationId xmlns:a16="http://schemas.microsoft.com/office/drawing/2014/main" id="{2A0DD99B-8CA7-43BB-0263-5589D5399329}"/>
                </a:ext>
              </a:extLst>
            </p:cNvPr>
            <p:cNvSpPr/>
            <p:nvPr/>
          </p:nvSpPr>
          <p:spPr>
            <a:xfrm>
              <a:off x="2755301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6" name="Straight Connector 589">
              <a:extLst>
                <a:ext uri="{FF2B5EF4-FFF2-40B4-BE49-F238E27FC236}">
                  <a16:creationId xmlns:a16="http://schemas.microsoft.com/office/drawing/2014/main" id="{E2200998-120C-AE2F-6E2E-ECB4488B0459}"/>
                </a:ext>
              </a:extLst>
            </p:cNvPr>
            <p:cNvSpPr/>
            <p:nvPr/>
          </p:nvSpPr>
          <p:spPr>
            <a:xfrm>
              <a:off x="2754361" y="510166"/>
              <a:ext cx="281642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7" name="Straight Connector 590">
              <a:extLst>
                <a:ext uri="{FF2B5EF4-FFF2-40B4-BE49-F238E27FC236}">
                  <a16:creationId xmlns:a16="http://schemas.microsoft.com/office/drawing/2014/main" id="{49619EE7-DD79-582B-B87B-88B6EC43054E}"/>
                </a:ext>
              </a:extLst>
            </p:cNvPr>
            <p:cNvSpPr/>
            <p:nvPr/>
          </p:nvSpPr>
          <p:spPr>
            <a:xfrm>
              <a:off x="2753615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8" name="Straight Connector 591">
              <a:extLst>
                <a:ext uri="{FF2B5EF4-FFF2-40B4-BE49-F238E27FC236}">
                  <a16:creationId xmlns:a16="http://schemas.microsoft.com/office/drawing/2014/main" id="{D7EE9D06-B5BF-95CD-D963-F39631E9CD91}"/>
                </a:ext>
              </a:extLst>
            </p:cNvPr>
            <p:cNvSpPr/>
            <p:nvPr/>
          </p:nvSpPr>
          <p:spPr>
            <a:xfrm>
              <a:off x="2755125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9" name="Straight Connector 592">
              <a:extLst>
                <a:ext uri="{FF2B5EF4-FFF2-40B4-BE49-F238E27FC236}">
                  <a16:creationId xmlns:a16="http://schemas.microsoft.com/office/drawing/2014/main" id="{4AAC9D16-3ED2-A4C8-6E92-1D297D756734}"/>
                </a:ext>
              </a:extLst>
            </p:cNvPr>
            <p:cNvSpPr/>
            <p:nvPr/>
          </p:nvSpPr>
          <p:spPr>
            <a:xfrm flipH="1">
              <a:off x="2750833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57" tIns="22857" rIns="22857" bIns="22857" numCol="1" anchor="t">
              <a:noAutofit/>
            </a:bodyPr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20" name="Oval 499">
              <a:extLst>
                <a:ext uri="{FF2B5EF4-FFF2-40B4-BE49-F238E27FC236}">
                  <a16:creationId xmlns:a16="http://schemas.microsoft.com/office/drawing/2014/main" id="{9549AC96-20F9-8667-8F22-1CDED2DCA617}"/>
                </a:ext>
              </a:extLst>
            </p:cNvPr>
            <p:cNvSpPr/>
            <p:nvPr/>
          </p:nvSpPr>
          <p:spPr>
            <a:xfrm flipH="1">
              <a:off x="3001262" y="68296"/>
              <a:ext cx="152116" cy="152115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1" name="Oval 506">
              <a:extLst>
                <a:ext uri="{FF2B5EF4-FFF2-40B4-BE49-F238E27FC236}">
                  <a16:creationId xmlns:a16="http://schemas.microsoft.com/office/drawing/2014/main" id="{C1A671E5-266E-5149-53F3-BD7D9C7364A7}"/>
                </a:ext>
              </a:extLst>
            </p:cNvPr>
            <p:cNvSpPr/>
            <p:nvPr/>
          </p:nvSpPr>
          <p:spPr>
            <a:xfrm flipH="1">
              <a:off x="2959366" y="393835"/>
              <a:ext cx="235908" cy="235909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2" name="Oval 529">
              <a:extLst>
                <a:ext uri="{FF2B5EF4-FFF2-40B4-BE49-F238E27FC236}">
                  <a16:creationId xmlns:a16="http://schemas.microsoft.com/office/drawing/2014/main" id="{FE505C26-8129-0CFA-C2B1-3D6EC7401C84}"/>
                </a:ext>
              </a:extLst>
            </p:cNvPr>
            <p:cNvSpPr/>
            <p:nvPr/>
          </p:nvSpPr>
          <p:spPr>
            <a:xfrm flipH="1">
              <a:off x="3018542" y="824765"/>
              <a:ext cx="117556" cy="117556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3" name="Oval 542">
              <a:extLst>
                <a:ext uri="{FF2B5EF4-FFF2-40B4-BE49-F238E27FC236}">
                  <a16:creationId xmlns:a16="http://schemas.microsoft.com/office/drawing/2014/main" id="{455A10F8-2B48-8205-0645-8CF2E58D028B}"/>
                </a:ext>
              </a:extLst>
            </p:cNvPr>
            <p:cNvSpPr/>
            <p:nvPr/>
          </p:nvSpPr>
          <p:spPr>
            <a:xfrm flipH="1">
              <a:off x="2984848" y="1158058"/>
              <a:ext cx="177419" cy="177420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4" name="Oval 501">
              <a:extLst>
                <a:ext uri="{FF2B5EF4-FFF2-40B4-BE49-F238E27FC236}">
                  <a16:creationId xmlns:a16="http://schemas.microsoft.com/office/drawing/2014/main" id="{BA9E69EA-32DC-14D6-B90A-85B683A99710}"/>
                </a:ext>
              </a:extLst>
            </p:cNvPr>
            <p:cNvSpPr/>
            <p:nvPr/>
          </p:nvSpPr>
          <p:spPr>
            <a:xfrm flipH="1">
              <a:off x="2273337" y="79336"/>
              <a:ext cx="117557" cy="117555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5" name="Oval 508">
              <a:extLst>
                <a:ext uri="{FF2B5EF4-FFF2-40B4-BE49-F238E27FC236}">
                  <a16:creationId xmlns:a16="http://schemas.microsoft.com/office/drawing/2014/main" id="{D5573A3C-4916-7C58-E999-6852FFE544B3}"/>
                </a:ext>
              </a:extLst>
            </p:cNvPr>
            <p:cNvSpPr/>
            <p:nvPr/>
          </p:nvSpPr>
          <p:spPr>
            <a:xfrm flipH="1">
              <a:off x="2243406" y="423080"/>
              <a:ext cx="177419" cy="17741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6" name="Oval 531">
              <a:extLst>
                <a:ext uri="{FF2B5EF4-FFF2-40B4-BE49-F238E27FC236}">
                  <a16:creationId xmlns:a16="http://schemas.microsoft.com/office/drawing/2014/main" id="{E16822BF-E9F0-E8FB-F77F-357BD0460AAF}"/>
                </a:ext>
              </a:extLst>
            </p:cNvPr>
            <p:cNvSpPr/>
            <p:nvPr/>
          </p:nvSpPr>
          <p:spPr>
            <a:xfrm flipH="1">
              <a:off x="2205214" y="771820"/>
              <a:ext cx="253803" cy="253804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7" name="Oval 544">
              <a:extLst>
                <a:ext uri="{FF2B5EF4-FFF2-40B4-BE49-F238E27FC236}">
                  <a16:creationId xmlns:a16="http://schemas.microsoft.com/office/drawing/2014/main" id="{BEFBB184-6CD0-247C-1CFE-A1B538CA8E2E}"/>
                </a:ext>
              </a:extLst>
            </p:cNvPr>
            <p:cNvSpPr/>
            <p:nvPr/>
          </p:nvSpPr>
          <p:spPr>
            <a:xfrm flipH="1">
              <a:off x="2235975" y="1161616"/>
              <a:ext cx="192281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8" name="Oval 507">
              <a:extLst>
                <a:ext uri="{FF2B5EF4-FFF2-40B4-BE49-F238E27FC236}">
                  <a16:creationId xmlns:a16="http://schemas.microsoft.com/office/drawing/2014/main" id="{6387CCFF-A06C-9060-A427-156EFE9FE14B}"/>
                </a:ext>
              </a:extLst>
            </p:cNvPr>
            <p:cNvSpPr/>
            <p:nvPr/>
          </p:nvSpPr>
          <p:spPr>
            <a:xfrm flipH="1">
              <a:off x="2650307" y="453011"/>
              <a:ext cx="117556" cy="11755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9" name="Oval 530">
              <a:extLst>
                <a:ext uri="{FF2B5EF4-FFF2-40B4-BE49-F238E27FC236}">
                  <a16:creationId xmlns:a16="http://schemas.microsoft.com/office/drawing/2014/main" id="{9D3E0E59-EA5F-BC86-E643-99E08EC54051}"/>
                </a:ext>
              </a:extLst>
            </p:cNvPr>
            <p:cNvSpPr/>
            <p:nvPr/>
          </p:nvSpPr>
          <p:spPr>
            <a:xfrm flipH="1">
              <a:off x="2619305" y="793763"/>
              <a:ext cx="179561" cy="17956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0" name="Oval 543">
              <a:extLst>
                <a:ext uri="{FF2B5EF4-FFF2-40B4-BE49-F238E27FC236}">
                  <a16:creationId xmlns:a16="http://schemas.microsoft.com/office/drawing/2014/main" id="{8FF67782-2C5F-8808-A873-FB8256DFFF27}"/>
                </a:ext>
              </a:extLst>
            </p:cNvPr>
            <p:cNvSpPr/>
            <p:nvPr/>
          </p:nvSpPr>
          <p:spPr>
            <a:xfrm flipH="1">
              <a:off x="2650307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1" name="Oval 500">
              <a:extLst>
                <a:ext uri="{FF2B5EF4-FFF2-40B4-BE49-F238E27FC236}">
                  <a16:creationId xmlns:a16="http://schemas.microsoft.com/office/drawing/2014/main" id="{BC546165-BD95-0739-F214-A89077907BF2}"/>
                </a:ext>
              </a:extLst>
            </p:cNvPr>
            <p:cNvSpPr/>
            <p:nvPr/>
          </p:nvSpPr>
          <p:spPr>
            <a:xfrm flipH="1">
              <a:off x="2596976" y="32244"/>
              <a:ext cx="224218" cy="224218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7998" tIns="17998" rIns="17998" bIns="17998" numCol="1" anchor="t">
              <a:noAutofit/>
            </a:bodyPr>
            <a:lstStyle/>
            <a:p>
              <a:pPr marL="0" marR="0" lvl="0" indent="0" algn="l" defTabSz="342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BD4CA553-6E8F-2832-39E6-31BA6CEE840F}"/>
              </a:ext>
            </a:extLst>
          </p:cNvPr>
          <p:cNvGrpSpPr/>
          <p:nvPr/>
        </p:nvGrpSpPr>
        <p:grpSpPr>
          <a:xfrm>
            <a:off x="2057004" y="1070837"/>
            <a:ext cx="2282785" cy="538682"/>
            <a:chOff x="871409" y="4516226"/>
            <a:chExt cx="4566165" cy="1077504"/>
          </a:xfrm>
        </p:grpSpPr>
        <p:sp>
          <p:nvSpPr>
            <p:cNvPr id="133" name="TextBox 638">
              <a:extLst>
                <a:ext uri="{FF2B5EF4-FFF2-40B4-BE49-F238E27FC236}">
                  <a16:creationId xmlns:a16="http://schemas.microsoft.com/office/drawing/2014/main" id="{DA1E93DC-C892-246D-BC13-015F0D303374}"/>
                </a:ext>
              </a:extLst>
            </p:cNvPr>
            <p:cNvSpPr txBox="1"/>
            <p:nvPr/>
          </p:nvSpPr>
          <p:spPr>
            <a:xfrm>
              <a:off x="2024519" y="4535128"/>
              <a:ext cx="3413055" cy="9850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1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Self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-supervised</a:t>
              </a:r>
              <a:r>
                <a:rPr kumimoji="0" lang="en-CA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 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  <a:p>
              <a:pPr marL="0" marR="0" lvl="0" indent="0" algn="l" defTabSz="9141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training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pic>
          <p:nvPicPr>
            <p:cNvPr id="134" name="Graphic 133" descr="Monitor with solid fill">
              <a:extLst>
                <a:ext uri="{FF2B5EF4-FFF2-40B4-BE49-F238E27FC236}">
                  <a16:creationId xmlns:a16="http://schemas.microsoft.com/office/drawing/2014/main" id="{6964CFE9-6DDA-BF91-C57B-F2647E1CC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1409" y="4516226"/>
              <a:ext cx="1077504" cy="1077504"/>
            </a:xfrm>
            <a:prstGeom prst="rect">
              <a:avLst/>
            </a:prstGeom>
          </p:spPr>
        </p:pic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7030BE6E-18DC-9E9E-D776-3CFA37A74811}"/>
              </a:ext>
            </a:extLst>
          </p:cNvPr>
          <p:cNvSpPr txBox="1"/>
          <p:nvPr/>
        </p:nvSpPr>
        <p:spPr>
          <a:xfrm>
            <a:off x="2145379" y="6312444"/>
            <a:ext cx="191975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Arial" panose="020B0604020202020204" pitchFamily="34" charset="0"/>
              </a:rPr>
              <a:t>Foundation model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56BBD415-1D51-DE27-FB44-6CE9132C12C9}"/>
              </a:ext>
            </a:extLst>
          </p:cNvPr>
          <p:cNvCxnSpPr>
            <a:cxnSpLocks/>
          </p:cNvCxnSpPr>
          <p:nvPr/>
        </p:nvCxnSpPr>
        <p:spPr bwMode="auto">
          <a:xfrm>
            <a:off x="3044334" y="1807572"/>
            <a:ext cx="4930" cy="511097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970419BF-4FBC-0DA6-0A70-5B02B7998263}"/>
              </a:ext>
            </a:extLst>
          </p:cNvPr>
          <p:cNvCxnSpPr>
            <a:cxnSpLocks/>
          </p:cNvCxnSpPr>
          <p:nvPr/>
        </p:nvCxnSpPr>
        <p:spPr bwMode="auto">
          <a:xfrm>
            <a:off x="3084824" y="4377642"/>
            <a:ext cx="0" cy="483654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366460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Rectangle">
            <a:extLst>
              <a:ext uri="{FF2B5EF4-FFF2-40B4-BE49-F238E27FC236}">
                <a16:creationId xmlns:a16="http://schemas.microsoft.com/office/drawing/2014/main" id="{B12E4BD1-FF4C-1FF0-6B2F-822D995E69B0}"/>
              </a:ext>
            </a:extLst>
          </p:cNvPr>
          <p:cNvSpPr/>
          <p:nvPr/>
        </p:nvSpPr>
        <p:spPr>
          <a:xfrm>
            <a:off x="1" y="3762397"/>
            <a:ext cx="12310844" cy="2353056"/>
          </a:xfrm>
          <a:prstGeom prst="rect">
            <a:avLst/>
          </a:prstGeom>
          <a:solidFill>
            <a:srgbClr val="33B1FF">
              <a:alpha val="9823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4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Foundation models: Generalizable and adaptable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l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54" name="Image" descr="Image">
            <a:extLst>
              <a:ext uri="{FF2B5EF4-FFF2-40B4-BE49-F238E27FC236}">
                <a16:creationId xmlns:a16="http://schemas.microsoft.com/office/drawing/2014/main" id="{CB7B1F80-8315-6B6F-13C1-1DD0078ED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2592" y="1395236"/>
            <a:ext cx="5811472" cy="2070337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5" name="Group">
            <a:extLst>
              <a:ext uri="{FF2B5EF4-FFF2-40B4-BE49-F238E27FC236}">
                <a16:creationId xmlns:a16="http://schemas.microsoft.com/office/drawing/2014/main" id="{04DFA14C-0742-35D4-B593-ABECD4D59AEE}"/>
              </a:ext>
            </a:extLst>
          </p:cNvPr>
          <p:cNvGrpSpPr/>
          <p:nvPr/>
        </p:nvGrpSpPr>
        <p:grpSpPr>
          <a:xfrm>
            <a:off x="9893699" y="2156219"/>
            <a:ext cx="1605912" cy="716583"/>
            <a:chOff x="0" y="0"/>
            <a:chExt cx="3211821" cy="1433162"/>
          </a:xfrm>
        </p:grpSpPr>
        <p:sp>
          <p:nvSpPr>
            <p:cNvPr id="56" name="Rectangle">
              <a:extLst>
                <a:ext uri="{FF2B5EF4-FFF2-40B4-BE49-F238E27FC236}">
                  <a16:creationId xmlns:a16="http://schemas.microsoft.com/office/drawing/2014/main" id="{BEEBC10C-AEB3-55F6-465D-E31511C5E13C}"/>
                </a:ext>
              </a:extLst>
            </p:cNvPr>
            <p:cNvSpPr/>
            <p:nvPr/>
          </p:nvSpPr>
          <p:spPr>
            <a:xfrm>
              <a:off x="0" y="0"/>
              <a:ext cx="3211822" cy="143316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marL="0" marR="0" lvl="0" indent="0" algn="l" defTabSz="412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8" name="Straight Connector 523">
              <a:extLst>
                <a:ext uri="{FF2B5EF4-FFF2-40B4-BE49-F238E27FC236}">
                  <a16:creationId xmlns:a16="http://schemas.microsoft.com/office/drawing/2014/main" id="{1F077A8C-9A8C-20E9-0CC8-C78C45631EF8}"/>
                </a:ext>
              </a:extLst>
            </p:cNvPr>
            <p:cNvSpPr/>
            <p:nvPr/>
          </p:nvSpPr>
          <p:spPr>
            <a:xfrm flipH="1">
              <a:off x="911403" y="510331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2" name="Straight Connector 524">
              <a:extLst>
                <a:ext uri="{FF2B5EF4-FFF2-40B4-BE49-F238E27FC236}">
                  <a16:creationId xmlns:a16="http://schemas.microsoft.com/office/drawing/2014/main" id="{8C1D1688-324B-4FC9-2C9E-B6510388AA5B}"/>
                </a:ext>
              </a:extLst>
            </p:cNvPr>
            <p:cNvSpPr/>
            <p:nvPr/>
          </p:nvSpPr>
          <p:spPr>
            <a:xfrm flipH="1" flipV="1">
              <a:off x="195534" y="51033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3" name="Straight Connector 540">
              <a:extLst>
                <a:ext uri="{FF2B5EF4-FFF2-40B4-BE49-F238E27FC236}">
                  <a16:creationId xmlns:a16="http://schemas.microsoft.com/office/drawing/2014/main" id="{3DC79698-316E-EFD1-D892-8716394735ED}"/>
                </a:ext>
              </a:extLst>
            </p:cNvPr>
            <p:cNvSpPr/>
            <p:nvPr/>
          </p:nvSpPr>
          <p:spPr>
            <a:xfrm flipH="1">
              <a:off x="912992" y="883543"/>
              <a:ext cx="28728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4" name="Straight Connector 541">
              <a:extLst>
                <a:ext uri="{FF2B5EF4-FFF2-40B4-BE49-F238E27FC236}">
                  <a16:creationId xmlns:a16="http://schemas.microsoft.com/office/drawing/2014/main" id="{63D15CB5-5A2E-5D92-B598-D58A66A6B743}"/>
                </a:ext>
              </a:extLst>
            </p:cNvPr>
            <p:cNvSpPr/>
            <p:nvPr/>
          </p:nvSpPr>
          <p:spPr>
            <a:xfrm flipH="1">
              <a:off x="195534" y="883543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5" name="Straight Connector 553">
              <a:extLst>
                <a:ext uri="{FF2B5EF4-FFF2-40B4-BE49-F238E27FC236}">
                  <a16:creationId xmlns:a16="http://schemas.microsoft.com/office/drawing/2014/main" id="{1786B658-AED2-1B47-D8EC-4E24004BFCE3}"/>
                </a:ext>
              </a:extLst>
            </p:cNvPr>
            <p:cNvSpPr/>
            <p:nvPr/>
          </p:nvSpPr>
          <p:spPr>
            <a:xfrm flipH="1">
              <a:off x="909699" y="1257756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6" name="Straight Connector 554">
              <a:extLst>
                <a:ext uri="{FF2B5EF4-FFF2-40B4-BE49-F238E27FC236}">
                  <a16:creationId xmlns:a16="http://schemas.microsoft.com/office/drawing/2014/main" id="{F61C9B0A-0159-F4B1-735F-C8DC4E472166}"/>
                </a:ext>
              </a:extLst>
            </p:cNvPr>
            <p:cNvSpPr/>
            <p:nvPr/>
          </p:nvSpPr>
          <p:spPr>
            <a:xfrm flipH="1">
              <a:off x="195534" y="1256755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7" name="Straight Connector 565">
              <a:extLst>
                <a:ext uri="{FF2B5EF4-FFF2-40B4-BE49-F238E27FC236}">
                  <a16:creationId xmlns:a16="http://schemas.microsoft.com/office/drawing/2014/main" id="{8A3862FC-2433-3250-6122-77100A102FA8}"/>
                </a:ext>
              </a:extLst>
            </p:cNvPr>
            <p:cNvSpPr/>
            <p:nvPr/>
          </p:nvSpPr>
          <p:spPr>
            <a:xfrm flipV="1">
              <a:off x="912992" y="137082"/>
              <a:ext cx="285565" cy="74941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8" name="Straight Connector 566">
              <a:extLst>
                <a:ext uri="{FF2B5EF4-FFF2-40B4-BE49-F238E27FC236}">
                  <a16:creationId xmlns:a16="http://schemas.microsoft.com/office/drawing/2014/main" id="{5AABE43F-01A0-1B82-C6E5-616E7E828857}"/>
                </a:ext>
              </a:extLst>
            </p:cNvPr>
            <p:cNvSpPr/>
            <p:nvPr/>
          </p:nvSpPr>
          <p:spPr>
            <a:xfrm flipV="1">
              <a:off x="914615" y="511635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9" name="Straight Connector 567">
              <a:extLst>
                <a:ext uri="{FF2B5EF4-FFF2-40B4-BE49-F238E27FC236}">
                  <a16:creationId xmlns:a16="http://schemas.microsoft.com/office/drawing/2014/main" id="{8F194696-4F2A-DD91-BB25-073F5B34FB24}"/>
                </a:ext>
              </a:extLst>
            </p:cNvPr>
            <p:cNvSpPr/>
            <p:nvPr/>
          </p:nvSpPr>
          <p:spPr>
            <a:xfrm flipV="1">
              <a:off x="199232" y="138575"/>
              <a:ext cx="627988" cy="37005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0" name="Straight Connector 568">
              <a:extLst>
                <a:ext uri="{FF2B5EF4-FFF2-40B4-BE49-F238E27FC236}">
                  <a16:creationId xmlns:a16="http://schemas.microsoft.com/office/drawing/2014/main" id="{2A41982F-215F-C38F-59A0-97989DAE1D41}"/>
                </a:ext>
              </a:extLst>
            </p:cNvPr>
            <p:cNvSpPr/>
            <p:nvPr/>
          </p:nvSpPr>
          <p:spPr>
            <a:xfrm flipV="1">
              <a:off x="195534" y="13711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1" name="Straight Connector 569">
              <a:extLst>
                <a:ext uri="{FF2B5EF4-FFF2-40B4-BE49-F238E27FC236}">
                  <a16:creationId xmlns:a16="http://schemas.microsoft.com/office/drawing/2014/main" id="{DDB9F36C-44B8-CB74-EE70-ABB646C22BC8}"/>
                </a:ext>
              </a:extLst>
            </p:cNvPr>
            <p:cNvSpPr/>
            <p:nvPr/>
          </p:nvSpPr>
          <p:spPr>
            <a:xfrm flipV="1">
              <a:off x="195535" y="510292"/>
              <a:ext cx="631684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2" name="Straight Connector 570">
              <a:extLst>
                <a:ext uri="{FF2B5EF4-FFF2-40B4-BE49-F238E27FC236}">
                  <a16:creationId xmlns:a16="http://schemas.microsoft.com/office/drawing/2014/main" id="{28DBC384-C0DE-1506-E54D-E73FE5B7935F}"/>
                </a:ext>
              </a:extLst>
            </p:cNvPr>
            <p:cNvSpPr/>
            <p:nvPr/>
          </p:nvSpPr>
          <p:spPr>
            <a:xfrm flipV="1">
              <a:off x="195534" y="883543"/>
              <a:ext cx="631685" cy="37420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3" name="Straight Connector 571">
              <a:extLst>
                <a:ext uri="{FF2B5EF4-FFF2-40B4-BE49-F238E27FC236}">
                  <a16:creationId xmlns:a16="http://schemas.microsoft.com/office/drawing/2014/main" id="{F6142423-98CA-0409-A7DE-A8B20E536181}"/>
                </a:ext>
              </a:extLst>
            </p:cNvPr>
            <p:cNvSpPr/>
            <p:nvPr/>
          </p:nvSpPr>
          <p:spPr>
            <a:xfrm flipV="1">
              <a:off x="195534" y="510332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4" name="Straight Connector 572">
              <a:extLst>
                <a:ext uri="{FF2B5EF4-FFF2-40B4-BE49-F238E27FC236}">
                  <a16:creationId xmlns:a16="http://schemas.microsoft.com/office/drawing/2014/main" id="{4517804A-970F-2063-E635-E019A3853079}"/>
                </a:ext>
              </a:extLst>
            </p:cNvPr>
            <p:cNvSpPr/>
            <p:nvPr/>
          </p:nvSpPr>
          <p:spPr>
            <a:xfrm flipV="1">
              <a:off x="195534" y="137080"/>
              <a:ext cx="631686" cy="112101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5" name="Straight Connector 577">
              <a:extLst>
                <a:ext uri="{FF2B5EF4-FFF2-40B4-BE49-F238E27FC236}">
                  <a16:creationId xmlns:a16="http://schemas.microsoft.com/office/drawing/2014/main" id="{29AA5538-ADBB-6E4B-A846-EB929DE4F6C5}"/>
                </a:ext>
              </a:extLst>
            </p:cNvPr>
            <p:cNvSpPr/>
            <p:nvPr/>
          </p:nvSpPr>
          <p:spPr>
            <a:xfrm flipH="1" flipV="1">
              <a:off x="198183" y="13655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6" name="Straight Connector 578">
              <a:extLst>
                <a:ext uri="{FF2B5EF4-FFF2-40B4-BE49-F238E27FC236}">
                  <a16:creationId xmlns:a16="http://schemas.microsoft.com/office/drawing/2014/main" id="{9F5B45B4-50E0-7064-8264-2A48C3A778B9}"/>
                </a:ext>
              </a:extLst>
            </p:cNvPr>
            <p:cNvSpPr/>
            <p:nvPr/>
          </p:nvSpPr>
          <p:spPr>
            <a:xfrm>
              <a:off x="198183" y="139306"/>
              <a:ext cx="630085" cy="7449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7" name="Straight Connector 579">
              <a:extLst>
                <a:ext uri="{FF2B5EF4-FFF2-40B4-BE49-F238E27FC236}">
                  <a16:creationId xmlns:a16="http://schemas.microsoft.com/office/drawing/2014/main" id="{B7AEFCDE-9335-BC43-6D45-977BFDF2CD4D}"/>
                </a:ext>
              </a:extLst>
            </p:cNvPr>
            <p:cNvSpPr/>
            <p:nvPr/>
          </p:nvSpPr>
          <p:spPr>
            <a:xfrm>
              <a:off x="198183" y="136558"/>
              <a:ext cx="630085" cy="11207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8" name="Straight Connector 580">
              <a:extLst>
                <a:ext uri="{FF2B5EF4-FFF2-40B4-BE49-F238E27FC236}">
                  <a16:creationId xmlns:a16="http://schemas.microsoft.com/office/drawing/2014/main" id="{22964C96-8B91-68A9-A7F0-6ADFC19097A9}"/>
                </a:ext>
              </a:extLst>
            </p:cNvPr>
            <p:cNvSpPr/>
            <p:nvPr/>
          </p:nvSpPr>
          <p:spPr>
            <a:xfrm flipH="1" flipV="1">
              <a:off x="196500" y="51098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9" name="Straight Connector 581">
              <a:extLst>
                <a:ext uri="{FF2B5EF4-FFF2-40B4-BE49-F238E27FC236}">
                  <a16:creationId xmlns:a16="http://schemas.microsoft.com/office/drawing/2014/main" id="{D4C6AD0A-BC19-EC3E-5153-F0BF2398B447}"/>
                </a:ext>
              </a:extLst>
            </p:cNvPr>
            <p:cNvSpPr/>
            <p:nvPr/>
          </p:nvSpPr>
          <p:spPr>
            <a:xfrm flipH="1" flipV="1">
              <a:off x="195535" y="88354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0" name="Straight Connector 582">
              <a:extLst>
                <a:ext uri="{FF2B5EF4-FFF2-40B4-BE49-F238E27FC236}">
                  <a16:creationId xmlns:a16="http://schemas.microsoft.com/office/drawing/2014/main" id="{00C8FF38-24F0-D303-FD0F-189A66ED74F8}"/>
                </a:ext>
              </a:extLst>
            </p:cNvPr>
            <p:cNvSpPr/>
            <p:nvPr/>
          </p:nvSpPr>
          <p:spPr>
            <a:xfrm flipH="1" flipV="1">
              <a:off x="196938" y="50927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1" name="Straight Connector 583">
              <a:extLst>
                <a:ext uri="{FF2B5EF4-FFF2-40B4-BE49-F238E27FC236}">
                  <a16:creationId xmlns:a16="http://schemas.microsoft.com/office/drawing/2014/main" id="{844B8711-D6FF-318D-61C3-BE80DE121A89}"/>
                </a:ext>
              </a:extLst>
            </p:cNvPr>
            <p:cNvSpPr/>
            <p:nvPr/>
          </p:nvSpPr>
          <p:spPr>
            <a:xfrm flipV="1">
              <a:off x="914616" y="137486"/>
              <a:ext cx="281947" cy="37244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2" name="Straight Connector 584">
              <a:extLst>
                <a:ext uri="{FF2B5EF4-FFF2-40B4-BE49-F238E27FC236}">
                  <a16:creationId xmlns:a16="http://schemas.microsoft.com/office/drawing/2014/main" id="{FBE760BF-A190-1422-6EDA-4A7B35249CA3}"/>
                </a:ext>
              </a:extLst>
            </p:cNvPr>
            <p:cNvSpPr/>
            <p:nvPr/>
          </p:nvSpPr>
          <p:spPr>
            <a:xfrm flipV="1">
              <a:off x="912992" y="137082"/>
              <a:ext cx="287280" cy="111967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3" name="Straight Connector 585">
              <a:extLst>
                <a:ext uri="{FF2B5EF4-FFF2-40B4-BE49-F238E27FC236}">
                  <a16:creationId xmlns:a16="http://schemas.microsoft.com/office/drawing/2014/main" id="{F0CB0DB9-79B4-A1D2-AF61-872624A6DA46}"/>
                </a:ext>
              </a:extLst>
            </p:cNvPr>
            <p:cNvSpPr/>
            <p:nvPr/>
          </p:nvSpPr>
          <p:spPr>
            <a:xfrm>
              <a:off x="914513" y="138575"/>
              <a:ext cx="280828" cy="3702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4" name="Straight Connector 586">
              <a:extLst>
                <a:ext uri="{FF2B5EF4-FFF2-40B4-BE49-F238E27FC236}">
                  <a16:creationId xmlns:a16="http://schemas.microsoft.com/office/drawing/2014/main" id="{F50B80B3-3489-8F84-2FA7-E39C834F210E}"/>
                </a:ext>
              </a:extLst>
            </p:cNvPr>
            <p:cNvSpPr/>
            <p:nvPr/>
          </p:nvSpPr>
          <p:spPr>
            <a:xfrm flipV="1">
              <a:off x="912992" y="510697"/>
              <a:ext cx="281640" cy="37244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5" name="Straight Connector 587">
              <a:extLst>
                <a:ext uri="{FF2B5EF4-FFF2-40B4-BE49-F238E27FC236}">
                  <a16:creationId xmlns:a16="http://schemas.microsoft.com/office/drawing/2014/main" id="{E96C8E68-61A4-5BFF-A6EA-0556947B2D13}"/>
                </a:ext>
              </a:extLst>
            </p:cNvPr>
            <p:cNvSpPr/>
            <p:nvPr/>
          </p:nvSpPr>
          <p:spPr>
            <a:xfrm>
              <a:off x="914613" y="137120"/>
              <a:ext cx="281823" cy="7465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6" name="Straight Connector 588">
              <a:extLst>
                <a:ext uri="{FF2B5EF4-FFF2-40B4-BE49-F238E27FC236}">
                  <a16:creationId xmlns:a16="http://schemas.microsoft.com/office/drawing/2014/main" id="{96378A10-87FC-D71F-DAF2-0F6B76E5DE70}"/>
                </a:ext>
              </a:extLst>
            </p:cNvPr>
            <p:cNvSpPr/>
            <p:nvPr/>
          </p:nvSpPr>
          <p:spPr>
            <a:xfrm>
              <a:off x="914637" y="133406"/>
              <a:ext cx="281767" cy="112492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7" name="Straight Connector 589">
              <a:extLst>
                <a:ext uri="{FF2B5EF4-FFF2-40B4-BE49-F238E27FC236}">
                  <a16:creationId xmlns:a16="http://schemas.microsoft.com/office/drawing/2014/main" id="{5FAA5F04-02F3-2324-1889-3E00362509B0}"/>
                </a:ext>
              </a:extLst>
            </p:cNvPr>
            <p:cNvSpPr/>
            <p:nvPr/>
          </p:nvSpPr>
          <p:spPr>
            <a:xfrm>
              <a:off x="913698" y="510292"/>
              <a:ext cx="281642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8" name="Straight Connector 590">
              <a:extLst>
                <a:ext uri="{FF2B5EF4-FFF2-40B4-BE49-F238E27FC236}">
                  <a16:creationId xmlns:a16="http://schemas.microsoft.com/office/drawing/2014/main" id="{1B6DFE55-D90A-7BC4-BCEB-6BBC2D5AE728}"/>
                </a:ext>
              </a:extLst>
            </p:cNvPr>
            <p:cNvSpPr/>
            <p:nvPr/>
          </p:nvSpPr>
          <p:spPr>
            <a:xfrm>
              <a:off x="912952" y="509024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9" name="Straight Connector 591">
              <a:extLst>
                <a:ext uri="{FF2B5EF4-FFF2-40B4-BE49-F238E27FC236}">
                  <a16:creationId xmlns:a16="http://schemas.microsoft.com/office/drawing/2014/main" id="{0BA011F5-2629-0B1C-840E-2B9F67BD2440}"/>
                </a:ext>
              </a:extLst>
            </p:cNvPr>
            <p:cNvSpPr/>
            <p:nvPr/>
          </p:nvSpPr>
          <p:spPr>
            <a:xfrm>
              <a:off x="914461" y="884193"/>
              <a:ext cx="282099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0" name="Straight Connector 592">
              <a:extLst>
                <a:ext uri="{FF2B5EF4-FFF2-40B4-BE49-F238E27FC236}">
                  <a16:creationId xmlns:a16="http://schemas.microsoft.com/office/drawing/2014/main" id="{986B404F-7A4B-343A-6ADF-CF8FBFD85E6C}"/>
                </a:ext>
              </a:extLst>
            </p:cNvPr>
            <p:cNvSpPr/>
            <p:nvPr/>
          </p:nvSpPr>
          <p:spPr>
            <a:xfrm flipH="1">
              <a:off x="910170" y="882304"/>
              <a:ext cx="286395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1" name="Straight Connector 524">
              <a:extLst>
                <a:ext uri="{FF2B5EF4-FFF2-40B4-BE49-F238E27FC236}">
                  <a16:creationId xmlns:a16="http://schemas.microsoft.com/office/drawing/2014/main" id="{E7697F7A-3A9C-8F84-D8DB-B4DC3D9D75E3}"/>
                </a:ext>
              </a:extLst>
            </p:cNvPr>
            <p:cNvSpPr/>
            <p:nvPr/>
          </p:nvSpPr>
          <p:spPr>
            <a:xfrm flipH="1" flipV="1">
              <a:off x="1660941" y="51008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2" name="Straight Connector 541">
              <a:extLst>
                <a:ext uri="{FF2B5EF4-FFF2-40B4-BE49-F238E27FC236}">
                  <a16:creationId xmlns:a16="http://schemas.microsoft.com/office/drawing/2014/main" id="{84042B51-B8DC-9242-E898-BA727898ED8E}"/>
                </a:ext>
              </a:extLst>
            </p:cNvPr>
            <p:cNvSpPr/>
            <p:nvPr/>
          </p:nvSpPr>
          <p:spPr>
            <a:xfrm flipH="1">
              <a:off x="1660941" y="883292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3" name="Straight Connector 554">
              <a:extLst>
                <a:ext uri="{FF2B5EF4-FFF2-40B4-BE49-F238E27FC236}">
                  <a16:creationId xmlns:a16="http://schemas.microsoft.com/office/drawing/2014/main" id="{3F14D742-0160-B7B8-8538-54949F3BC4BE}"/>
                </a:ext>
              </a:extLst>
            </p:cNvPr>
            <p:cNvSpPr/>
            <p:nvPr/>
          </p:nvSpPr>
          <p:spPr>
            <a:xfrm flipH="1">
              <a:off x="1660941" y="1256504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4" name="Straight Connector 567">
              <a:extLst>
                <a:ext uri="{FF2B5EF4-FFF2-40B4-BE49-F238E27FC236}">
                  <a16:creationId xmlns:a16="http://schemas.microsoft.com/office/drawing/2014/main" id="{5D6D4601-7C14-DD05-62F0-ADC9D5D064BD}"/>
                </a:ext>
              </a:extLst>
            </p:cNvPr>
            <p:cNvSpPr/>
            <p:nvPr/>
          </p:nvSpPr>
          <p:spPr>
            <a:xfrm flipV="1">
              <a:off x="1664639" y="138324"/>
              <a:ext cx="627988" cy="37005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5" name="Straight Connector 568">
              <a:extLst>
                <a:ext uri="{FF2B5EF4-FFF2-40B4-BE49-F238E27FC236}">
                  <a16:creationId xmlns:a16="http://schemas.microsoft.com/office/drawing/2014/main" id="{C75637BF-F9AB-850D-094B-F3915DBA79D7}"/>
                </a:ext>
              </a:extLst>
            </p:cNvPr>
            <p:cNvSpPr/>
            <p:nvPr/>
          </p:nvSpPr>
          <p:spPr>
            <a:xfrm flipV="1">
              <a:off x="1660941" y="13686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6" name="Straight Connector 569">
              <a:extLst>
                <a:ext uri="{FF2B5EF4-FFF2-40B4-BE49-F238E27FC236}">
                  <a16:creationId xmlns:a16="http://schemas.microsoft.com/office/drawing/2014/main" id="{3353A3A6-BD84-479E-1E7F-51B5BFB73566}"/>
                </a:ext>
              </a:extLst>
            </p:cNvPr>
            <p:cNvSpPr/>
            <p:nvPr/>
          </p:nvSpPr>
          <p:spPr>
            <a:xfrm flipV="1">
              <a:off x="1660941" y="510041"/>
              <a:ext cx="631685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7" name="Straight Connector 570">
              <a:extLst>
                <a:ext uri="{FF2B5EF4-FFF2-40B4-BE49-F238E27FC236}">
                  <a16:creationId xmlns:a16="http://schemas.microsoft.com/office/drawing/2014/main" id="{B523B03E-277D-C76C-E726-6A80F78D73A1}"/>
                </a:ext>
              </a:extLst>
            </p:cNvPr>
            <p:cNvSpPr/>
            <p:nvPr/>
          </p:nvSpPr>
          <p:spPr>
            <a:xfrm flipV="1">
              <a:off x="1660941" y="883292"/>
              <a:ext cx="631685" cy="37421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8" name="Straight Connector 571">
              <a:extLst>
                <a:ext uri="{FF2B5EF4-FFF2-40B4-BE49-F238E27FC236}">
                  <a16:creationId xmlns:a16="http://schemas.microsoft.com/office/drawing/2014/main" id="{DF521ED2-BEBA-BEC9-C3A8-5E43CC1584AB}"/>
                </a:ext>
              </a:extLst>
            </p:cNvPr>
            <p:cNvSpPr/>
            <p:nvPr/>
          </p:nvSpPr>
          <p:spPr>
            <a:xfrm flipV="1">
              <a:off x="1660941" y="510081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9" name="Straight Connector 572">
              <a:extLst>
                <a:ext uri="{FF2B5EF4-FFF2-40B4-BE49-F238E27FC236}">
                  <a16:creationId xmlns:a16="http://schemas.microsoft.com/office/drawing/2014/main" id="{A0C59CF8-2EFB-E791-78C8-B1FDC74E5B69}"/>
                </a:ext>
              </a:extLst>
            </p:cNvPr>
            <p:cNvSpPr/>
            <p:nvPr/>
          </p:nvSpPr>
          <p:spPr>
            <a:xfrm flipV="1">
              <a:off x="1660941" y="136829"/>
              <a:ext cx="631686" cy="11210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0" name="Straight Connector 577">
              <a:extLst>
                <a:ext uri="{FF2B5EF4-FFF2-40B4-BE49-F238E27FC236}">
                  <a16:creationId xmlns:a16="http://schemas.microsoft.com/office/drawing/2014/main" id="{DB44B907-0B83-0EA6-82D9-D7EDABCBE150}"/>
                </a:ext>
              </a:extLst>
            </p:cNvPr>
            <p:cNvSpPr/>
            <p:nvPr/>
          </p:nvSpPr>
          <p:spPr>
            <a:xfrm flipH="1" flipV="1">
              <a:off x="1663590" y="13630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1" name="Straight Connector 578">
              <a:extLst>
                <a:ext uri="{FF2B5EF4-FFF2-40B4-BE49-F238E27FC236}">
                  <a16:creationId xmlns:a16="http://schemas.microsoft.com/office/drawing/2014/main" id="{9966A740-FB94-51BA-17F2-861DABCD1775}"/>
                </a:ext>
              </a:extLst>
            </p:cNvPr>
            <p:cNvSpPr/>
            <p:nvPr/>
          </p:nvSpPr>
          <p:spPr>
            <a:xfrm>
              <a:off x="1663590" y="139056"/>
              <a:ext cx="630085" cy="7449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2" name="Straight Connector 579">
              <a:extLst>
                <a:ext uri="{FF2B5EF4-FFF2-40B4-BE49-F238E27FC236}">
                  <a16:creationId xmlns:a16="http://schemas.microsoft.com/office/drawing/2014/main" id="{2187C209-1C18-1AE0-AF21-940A4EA4C2B8}"/>
                </a:ext>
              </a:extLst>
            </p:cNvPr>
            <p:cNvSpPr/>
            <p:nvPr/>
          </p:nvSpPr>
          <p:spPr>
            <a:xfrm>
              <a:off x="1663590" y="136307"/>
              <a:ext cx="630085" cy="11207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3" name="Straight Connector 580">
              <a:extLst>
                <a:ext uri="{FF2B5EF4-FFF2-40B4-BE49-F238E27FC236}">
                  <a16:creationId xmlns:a16="http://schemas.microsoft.com/office/drawing/2014/main" id="{F860F104-11AC-DF37-3A6E-74EEF35CADEB}"/>
                </a:ext>
              </a:extLst>
            </p:cNvPr>
            <p:cNvSpPr/>
            <p:nvPr/>
          </p:nvSpPr>
          <p:spPr>
            <a:xfrm flipH="1" flipV="1">
              <a:off x="1661907" y="51073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4" name="Straight Connector 581">
              <a:extLst>
                <a:ext uri="{FF2B5EF4-FFF2-40B4-BE49-F238E27FC236}">
                  <a16:creationId xmlns:a16="http://schemas.microsoft.com/office/drawing/2014/main" id="{76E36BB4-0162-EA18-6DA3-EA3B6AE31F20}"/>
                </a:ext>
              </a:extLst>
            </p:cNvPr>
            <p:cNvSpPr/>
            <p:nvPr/>
          </p:nvSpPr>
          <p:spPr>
            <a:xfrm flipH="1" flipV="1">
              <a:off x="1660942" y="88329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5" name="Straight Connector 582">
              <a:extLst>
                <a:ext uri="{FF2B5EF4-FFF2-40B4-BE49-F238E27FC236}">
                  <a16:creationId xmlns:a16="http://schemas.microsoft.com/office/drawing/2014/main" id="{53B6A1B9-B294-0AE0-C77D-A21DFB2C7E28}"/>
                </a:ext>
              </a:extLst>
            </p:cNvPr>
            <p:cNvSpPr/>
            <p:nvPr/>
          </p:nvSpPr>
          <p:spPr>
            <a:xfrm flipH="1" flipV="1">
              <a:off x="1662344" y="50902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6" name="Straight Connector 523">
              <a:extLst>
                <a:ext uri="{FF2B5EF4-FFF2-40B4-BE49-F238E27FC236}">
                  <a16:creationId xmlns:a16="http://schemas.microsoft.com/office/drawing/2014/main" id="{0D1276BA-00CF-8EF7-8265-03619EE621A3}"/>
                </a:ext>
              </a:extLst>
            </p:cNvPr>
            <p:cNvSpPr/>
            <p:nvPr/>
          </p:nvSpPr>
          <p:spPr>
            <a:xfrm flipH="1">
              <a:off x="128330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7" name="Straight Connector 540">
              <a:extLst>
                <a:ext uri="{FF2B5EF4-FFF2-40B4-BE49-F238E27FC236}">
                  <a16:creationId xmlns:a16="http://schemas.microsoft.com/office/drawing/2014/main" id="{94B14A12-3A68-33F6-C44B-438196E1A4FE}"/>
                </a:ext>
              </a:extLst>
            </p:cNvPr>
            <p:cNvSpPr/>
            <p:nvPr/>
          </p:nvSpPr>
          <p:spPr>
            <a:xfrm flipH="1">
              <a:off x="128489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8" name="Straight Connector 553">
              <a:extLst>
                <a:ext uri="{FF2B5EF4-FFF2-40B4-BE49-F238E27FC236}">
                  <a16:creationId xmlns:a16="http://schemas.microsoft.com/office/drawing/2014/main" id="{D9A25C90-EC88-71E1-9D16-BFFBBB07D0A0}"/>
                </a:ext>
              </a:extLst>
            </p:cNvPr>
            <p:cNvSpPr/>
            <p:nvPr/>
          </p:nvSpPr>
          <p:spPr>
            <a:xfrm flipH="1">
              <a:off x="128160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9" name="Straight Connector 565">
              <a:extLst>
                <a:ext uri="{FF2B5EF4-FFF2-40B4-BE49-F238E27FC236}">
                  <a16:creationId xmlns:a16="http://schemas.microsoft.com/office/drawing/2014/main" id="{6600AF25-6033-5C5B-DA97-23B74F44F5BE}"/>
                </a:ext>
              </a:extLst>
            </p:cNvPr>
            <p:cNvSpPr/>
            <p:nvPr/>
          </p:nvSpPr>
          <p:spPr>
            <a:xfrm flipV="1">
              <a:off x="128489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0" name="Straight Connector 566">
              <a:extLst>
                <a:ext uri="{FF2B5EF4-FFF2-40B4-BE49-F238E27FC236}">
                  <a16:creationId xmlns:a16="http://schemas.microsoft.com/office/drawing/2014/main" id="{84A63F7A-E3E9-3DE4-EF29-93FE61CF1C27}"/>
                </a:ext>
              </a:extLst>
            </p:cNvPr>
            <p:cNvSpPr/>
            <p:nvPr/>
          </p:nvSpPr>
          <p:spPr>
            <a:xfrm flipV="1">
              <a:off x="1286521" y="511509"/>
              <a:ext cx="281820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1" name="Straight Connector 583">
              <a:extLst>
                <a:ext uri="{FF2B5EF4-FFF2-40B4-BE49-F238E27FC236}">
                  <a16:creationId xmlns:a16="http://schemas.microsoft.com/office/drawing/2014/main" id="{B2D279E1-20FC-76AA-C8E7-55D4D4594F19}"/>
                </a:ext>
              </a:extLst>
            </p:cNvPr>
            <p:cNvSpPr/>
            <p:nvPr/>
          </p:nvSpPr>
          <p:spPr>
            <a:xfrm flipV="1">
              <a:off x="1286521" y="137359"/>
              <a:ext cx="281948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2" name="Straight Connector 584">
              <a:extLst>
                <a:ext uri="{FF2B5EF4-FFF2-40B4-BE49-F238E27FC236}">
                  <a16:creationId xmlns:a16="http://schemas.microsoft.com/office/drawing/2014/main" id="{D443CFDF-0526-BC6D-6A25-688681124EF6}"/>
                </a:ext>
              </a:extLst>
            </p:cNvPr>
            <p:cNvSpPr/>
            <p:nvPr/>
          </p:nvSpPr>
          <p:spPr>
            <a:xfrm flipV="1">
              <a:off x="128489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3" name="Straight Connector 585">
              <a:extLst>
                <a:ext uri="{FF2B5EF4-FFF2-40B4-BE49-F238E27FC236}">
                  <a16:creationId xmlns:a16="http://schemas.microsoft.com/office/drawing/2014/main" id="{B0B875A9-01A5-2618-AD4D-673CE1A820F9}"/>
                </a:ext>
              </a:extLst>
            </p:cNvPr>
            <p:cNvSpPr/>
            <p:nvPr/>
          </p:nvSpPr>
          <p:spPr>
            <a:xfrm>
              <a:off x="128641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4" name="Straight Connector 586">
              <a:extLst>
                <a:ext uri="{FF2B5EF4-FFF2-40B4-BE49-F238E27FC236}">
                  <a16:creationId xmlns:a16="http://schemas.microsoft.com/office/drawing/2014/main" id="{96F28A83-E01A-93E8-CB0B-2282C1010E25}"/>
                </a:ext>
              </a:extLst>
            </p:cNvPr>
            <p:cNvSpPr/>
            <p:nvPr/>
          </p:nvSpPr>
          <p:spPr>
            <a:xfrm flipV="1">
              <a:off x="1284898" y="510570"/>
              <a:ext cx="281639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5" name="Straight Connector 587">
              <a:extLst>
                <a:ext uri="{FF2B5EF4-FFF2-40B4-BE49-F238E27FC236}">
                  <a16:creationId xmlns:a16="http://schemas.microsoft.com/office/drawing/2014/main" id="{A5AF4B07-DE71-D2E9-FDA5-C4CDD6E83D27}"/>
                </a:ext>
              </a:extLst>
            </p:cNvPr>
            <p:cNvSpPr/>
            <p:nvPr/>
          </p:nvSpPr>
          <p:spPr>
            <a:xfrm>
              <a:off x="128651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6" name="Straight Connector 588">
              <a:extLst>
                <a:ext uri="{FF2B5EF4-FFF2-40B4-BE49-F238E27FC236}">
                  <a16:creationId xmlns:a16="http://schemas.microsoft.com/office/drawing/2014/main" id="{4F78CDE7-7A34-9DD2-21F8-8D3553584A7C}"/>
                </a:ext>
              </a:extLst>
            </p:cNvPr>
            <p:cNvSpPr/>
            <p:nvPr/>
          </p:nvSpPr>
          <p:spPr>
            <a:xfrm>
              <a:off x="1286543" y="133280"/>
              <a:ext cx="281767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7" name="Straight Connector 589">
              <a:extLst>
                <a:ext uri="{FF2B5EF4-FFF2-40B4-BE49-F238E27FC236}">
                  <a16:creationId xmlns:a16="http://schemas.microsoft.com/office/drawing/2014/main" id="{CD7D3185-3DA7-AC79-B374-8BF0E620D52E}"/>
                </a:ext>
              </a:extLst>
            </p:cNvPr>
            <p:cNvSpPr/>
            <p:nvPr/>
          </p:nvSpPr>
          <p:spPr>
            <a:xfrm>
              <a:off x="128560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8" name="Straight Connector 590">
              <a:extLst>
                <a:ext uri="{FF2B5EF4-FFF2-40B4-BE49-F238E27FC236}">
                  <a16:creationId xmlns:a16="http://schemas.microsoft.com/office/drawing/2014/main" id="{569A4DF4-D312-8571-44AB-6F339D4C06C1}"/>
                </a:ext>
              </a:extLst>
            </p:cNvPr>
            <p:cNvSpPr/>
            <p:nvPr/>
          </p:nvSpPr>
          <p:spPr>
            <a:xfrm>
              <a:off x="1284858" y="508897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9" name="Straight Connector 591">
              <a:extLst>
                <a:ext uri="{FF2B5EF4-FFF2-40B4-BE49-F238E27FC236}">
                  <a16:creationId xmlns:a16="http://schemas.microsoft.com/office/drawing/2014/main" id="{DFC22F3C-39FD-685D-9222-8FF7CC5FCA7C}"/>
                </a:ext>
              </a:extLst>
            </p:cNvPr>
            <p:cNvSpPr/>
            <p:nvPr/>
          </p:nvSpPr>
          <p:spPr>
            <a:xfrm>
              <a:off x="128636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20" name="Straight Connector 592">
              <a:extLst>
                <a:ext uri="{FF2B5EF4-FFF2-40B4-BE49-F238E27FC236}">
                  <a16:creationId xmlns:a16="http://schemas.microsoft.com/office/drawing/2014/main" id="{341532F7-E857-A9B4-45CC-55F70316F93D}"/>
                </a:ext>
              </a:extLst>
            </p:cNvPr>
            <p:cNvSpPr/>
            <p:nvPr/>
          </p:nvSpPr>
          <p:spPr>
            <a:xfrm flipH="1">
              <a:off x="128207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21" name="Oval 502">
              <a:extLst>
                <a:ext uri="{FF2B5EF4-FFF2-40B4-BE49-F238E27FC236}">
                  <a16:creationId xmlns:a16="http://schemas.microsoft.com/office/drawing/2014/main" id="{57D048D1-9C5D-3E0F-4F8B-463EF6184CB3}"/>
                </a:ext>
              </a:extLst>
            </p:cNvPr>
            <p:cNvSpPr/>
            <p:nvPr/>
          </p:nvSpPr>
          <p:spPr>
            <a:xfrm flipH="1">
              <a:off x="1561828" y="79336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2" name="Oval 509">
              <a:extLst>
                <a:ext uri="{FF2B5EF4-FFF2-40B4-BE49-F238E27FC236}">
                  <a16:creationId xmlns:a16="http://schemas.microsoft.com/office/drawing/2014/main" id="{79037B4B-A0AD-66F5-1AC1-25EF27EC15C0}"/>
                </a:ext>
              </a:extLst>
            </p:cNvPr>
            <p:cNvSpPr/>
            <p:nvPr/>
          </p:nvSpPr>
          <p:spPr>
            <a:xfrm flipH="1">
              <a:off x="1492619" y="383803"/>
              <a:ext cx="255973" cy="2559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3" name="Oval 545">
              <a:extLst>
                <a:ext uri="{FF2B5EF4-FFF2-40B4-BE49-F238E27FC236}">
                  <a16:creationId xmlns:a16="http://schemas.microsoft.com/office/drawing/2014/main" id="{A9650EC0-746F-0C0B-4590-224B9932CBD1}"/>
                </a:ext>
              </a:extLst>
            </p:cNvPr>
            <p:cNvSpPr/>
            <p:nvPr/>
          </p:nvSpPr>
          <p:spPr>
            <a:xfrm flipH="1">
              <a:off x="1527230" y="1145599"/>
              <a:ext cx="202338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4" name="Oval 532">
              <a:extLst>
                <a:ext uri="{FF2B5EF4-FFF2-40B4-BE49-F238E27FC236}">
                  <a16:creationId xmlns:a16="http://schemas.microsoft.com/office/drawing/2014/main" id="{5B8F49F1-D6BE-D7BD-A5AE-3C5A4AB82387}"/>
                </a:ext>
              </a:extLst>
            </p:cNvPr>
            <p:cNvSpPr/>
            <p:nvPr/>
          </p:nvSpPr>
          <p:spPr>
            <a:xfrm flipH="1">
              <a:off x="1549869" y="812807"/>
              <a:ext cx="141473" cy="1414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5" name="Oval 503">
              <a:extLst>
                <a:ext uri="{FF2B5EF4-FFF2-40B4-BE49-F238E27FC236}">
                  <a16:creationId xmlns:a16="http://schemas.microsoft.com/office/drawing/2014/main" id="{65D75227-F15B-C515-5891-2225B2ED1BD6}"/>
                </a:ext>
              </a:extLst>
            </p:cNvPr>
            <p:cNvSpPr/>
            <p:nvPr/>
          </p:nvSpPr>
          <p:spPr>
            <a:xfrm flipH="1">
              <a:off x="1156548" y="55690"/>
              <a:ext cx="164847" cy="16484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6" name="Oval 510">
              <a:extLst>
                <a:ext uri="{FF2B5EF4-FFF2-40B4-BE49-F238E27FC236}">
                  <a16:creationId xmlns:a16="http://schemas.microsoft.com/office/drawing/2014/main" id="{DA6F1D63-9C77-A1EF-7EE0-DB142DA20A70}"/>
                </a:ext>
              </a:extLst>
            </p:cNvPr>
            <p:cNvSpPr/>
            <p:nvPr/>
          </p:nvSpPr>
          <p:spPr>
            <a:xfrm flipH="1">
              <a:off x="1161012" y="433829"/>
              <a:ext cx="155920" cy="15592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7" name="Oval 533">
              <a:extLst>
                <a:ext uri="{FF2B5EF4-FFF2-40B4-BE49-F238E27FC236}">
                  <a16:creationId xmlns:a16="http://schemas.microsoft.com/office/drawing/2014/main" id="{DC0DA767-6A7A-A008-FB6C-86904037AB4E}"/>
                </a:ext>
              </a:extLst>
            </p:cNvPr>
            <p:cNvSpPr/>
            <p:nvPr/>
          </p:nvSpPr>
          <p:spPr>
            <a:xfrm flipH="1">
              <a:off x="1135311" y="783444"/>
              <a:ext cx="200198" cy="20019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8" name="Oval 546">
              <a:extLst>
                <a:ext uri="{FF2B5EF4-FFF2-40B4-BE49-F238E27FC236}">
                  <a16:creationId xmlns:a16="http://schemas.microsoft.com/office/drawing/2014/main" id="{F799F78D-57DA-6B3F-6EDB-BAB94B81FD33}"/>
                </a:ext>
              </a:extLst>
            </p:cNvPr>
            <p:cNvSpPr/>
            <p:nvPr/>
          </p:nvSpPr>
          <p:spPr>
            <a:xfrm flipH="1">
              <a:off x="1180194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9" name="Oval 547">
              <a:extLst>
                <a:ext uri="{FF2B5EF4-FFF2-40B4-BE49-F238E27FC236}">
                  <a16:creationId xmlns:a16="http://schemas.microsoft.com/office/drawing/2014/main" id="{6E0475AF-F04F-3419-0D19-D78B17C58087}"/>
                </a:ext>
              </a:extLst>
            </p:cNvPr>
            <p:cNvSpPr/>
            <p:nvPr/>
          </p:nvSpPr>
          <p:spPr>
            <a:xfrm flipH="1">
              <a:off x="766315" y="1150627"/>
              <a:ext cx="192280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0" name="Oval 504">
              <a:extLst>
                <a:ext uri="{FF2B5EF4-FFF2-40B4-BE49-F238E27FC236}">
                  <a16:creationId xmlns:a16="http://schemas.microsoft.com/office/drawing/2014/main" id="{AD26F288-7FB1-61C5-2ACC-733F693470D3}"/>
                </a:ext>
              </a:extLst>
            </p:cNvPr>
            <p:cNvSpPr/>
            <p:nvPr/>
          </p:nvSpPr>
          <p:spPr>
            <a:xfrm flipH="1">
              <a:off x="728715" y="4374"/>
              <a:ext cx="267480" cy="267480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1" name="Oval 511">
              <a:extLst>
                <a:ext uri="{FF2B5EF4-FFF2-40B4-BE49-F238E27FC236}">
                  <a16:creationId xmlns:a16="http://schemas.microsoft.com/office/drawing/2014/main" id="{06329510-E923-2B0D-7A3C-1FCAAEABA896}"/>
                </a:ext>
              </a:extLst>
            </p:cNvPr>
            <p:cNvSpPr/>
            <p:nvPr/>
          </p:nvSpPr>
          <p:spPr>
            <a:xfrm flipH="1">
              <a:off x="803578" y="453209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2" name="Oval 534">
              <a:extLst>
                <a:ext uri="{FF2B5EF4-FFF2-40B4-BE49-F238E27FC236}">
                  <a16:creationId xmlns:a16="http://schemas.microsoft.com/office/drawing/2014/main" id="{38CE1374-5121-59D4-9C33-A16BE5FBA499}"/>
                </a:ext>
              </a:extLst>
            </p:cNvPr>
            <p:cNvSpPr/>
            <p:nvPr/>
          </p:nvSpPr>
          <p:spPr>
            <a:xfrm flipH="1">
              <a:off x="772293" y="802177"/>
              <a:ext cx="162733" cy="162733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3" name="Oval 505">
              <a:extLst>
                <a:ext uri="{FF2B5EF4-FFF2-40B4-BE49-F238E27FC236}">
                  <a16:creationId xmlns:a16="http://schemas.microsoft.com/office/drawing/2014/main" id="{7C22AB1C-50D6-1F19-2A18-BBECC8F682BE}"/>
                </a:ext>
              </a:extLst>
            </p:cNvPr>
            <p:cNvSpPr/>
            <p:nvPr/>
          </p:nvSpPr>
          <p:spPr>
            <a:xfrm flipH="1">
              <a:off x="62647" y="68296"/>
              <a:ext cx="152115" cy="152115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4" name="Oval 512">
              <a:extLst>
                <a:ext uri="{FF2B5EF4-FFF2-40B4-BE49-F238E27FC236}">
                  <a16:creationId xmlns:a16="http://schemas.microsoft.com/office/drawing/2014/main" id="{15659E50-6F7D-CB35-2E02-5A4218890A84}"/>
                </a:ext>
              </a:extLst>
            </p:cNvPr>
            <p:cNvSpPr/>
            <p:nvPr/>
          </p:nvSpPr>
          <p:spPr>
            <a:xfrm flipH="1">
              <a:off x="37535" y="409163"/>
              <a:ext cx="202339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5" name="Oval 535">
              <a:extLst>
                <a:ext uri="{FF2B5EF4-FFF2-40B4-BE49-F238E27FC236}">
                  <a16:creationId xmlns:a16="http://schemas.microsoft.com/office/drawing/2014/main" id="{183E5CFB-D084-35AA-191B-7C2D2C9FF859}"/>
                </a:ext>
              </a:extLst>
            </p:cNvPr>
            <p:cNvSpPr/>
            <p:nvPr/>
          </p:nvSpPr>
          <p:spPr>
            <a:xfrm flipH="1">
              <a:off x="79927" y="824765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6" name="Oval 548">
              <a:extLst>
                <a:ext uri="{FF2B5EF4-FFF2-40B4-BE49-F238E27FC236}">
                  <a16:creationId xmlns:a16="http://schemas.microsoft.com/office/drawing/2014/main" id="{E194B452-C7FD-AC30-FA86-959244C4E34C}"/>
                </a:ext>
              </a:extLst>
            </p:cNvPr>
            <p:cNvSpPr/>
            <p:nvPr/>
          </p:nvSpPr>
          <p:spPr>
            <a:xfrm flipH="1">
              <a:off x="4965" y="1113028"/>
              <a:ext cx="267479" cy="267480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7" name="Straight Connector 523">
              <a:extLst>
                <a:ext uri="{FF2B5EF4-FFF2-40B4-BE49-F238E27FC236}">
                  <a16:creationId xmlns:a16="http://schemas.microsoft.com/office/drawing/2014/main" id="{CFE7CC94-1688-17C0-CD2A-84840B7B2B9F}"/>
                </a:ext>
              </a:extLst>
            </p:cNvPr>
            <p:cNvSpPr/>
            <p:nvPr/>
          </p:nvSpPr>
          <p:spPr>
            <a:xfrm flipH="1">
              <a:off x="237999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38" name="Straight Connector 540">
              <a:extLst>
                <a:ext uri="{FF2B5EF4-FFF2-40B4-BE49-F238E27FC236}">
                  <a16:creationId xmlns:a16="http://schemas.microsoft.com/office/drawing/2014/main" id="{F9DA9827-A84F-3241-54DF-F6D6502988D0}"/>
                </a:ext>
              </a:extLst>
            </p:cNvPr>
            <p:cNvSpPr/>
            <p:nvPr/>
          </p:nvSpPr>
          <p:spPr>
            <a:xfrm flipH="1">
              <a:off x="238158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39" name="Straight Connector 553">
              <a:extLst>
                <a:ext uri="{FF2B5EF4-FFF2-40B4-BE49-F238E27FC236}">
                  <a16:creationId xmlns:a16="http://schemas.microsoft.com/office/drawing/2014/main" id="{19B8EEDF-A6CF-9F59-64BA-004A6AFBE4CE}"/>
                </a:ext>
              </a:extLst>
            </p:cNvPr>
            <p:cNvSpPr/>
            <p:nvPr/>
          </p:nvSpPr>
          <p:spPr>
            <a:xfrm flipH="1">
              <a:off x="237829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0" name="Straight Connector 565">
              <a:extLst>
                <a:ext uri="{FF2B5EF4-FFF2-40B4-BE49-F238E27FC236}">
                  <a16:creationId xmlns:a16="http://schemas.microsoft.com/office/drawing/2014/main" id="{928367C4-F4BA-6690-F070-3D06F5AAF0DA}"/>
                </a:ext>
              </a:extLst>
            </p:cNvPr>
            <p:cNvSpPr/>
            <p:nvPr/>
          </p:nvSpPr>
          <p:spPr>
            <a:xfrm flipV="1">
              <a:off x="238158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1" name="Straight Connector 566">
              <a:extLst>
                <a:ext uri="{FF2B5EF4-FFF2-40B4-BE49-F238E27FC236}">
                  <a16:creationId xmlns:a16="http://schemas.microsoft.com/office/drawing/2014/main" id="{7A5A5906-EAFD-ECAB-AF7C-87C1164FA14B}"/>
                </a:ext>
              </a:extLst>
            </p:cNvPr>
            <p:cNvSpPr/>
            <p:nvPr/>
          </p:nvSpPr>
          <p:spPr>
            <a:xfrm flipV="1">
              <a:off x="2383211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2" name="Straight Connector 583">
              <a:extLst>
                <a:ext uri="{FF2B5EF4-FFF2-40B4-BE49-F238E27FC236}">
                  <a16:creationId xmlns:a16="http://schemas.microsoft.com/office/drawing/2014/main" id="{150EFD57-9CCD-6481-7D53-EEDAEA859D6A}"/>
                </a:ext>
              </a:extLst>
            </p:cNvPr>
            <p:cNvSpPr/>
            <p:nvPr/>
          </p:nvSpPr>
          <p:spPr>
            <a:xfrm flipV="1">
              <a:off x="2383211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3" name="Straight Connector 584">
              <a:extLst>
                <a:ext uri="{FF2B5EF4-FFF2-40B4-BE49-F238E27FC236}">
                  <a16:creationId xmlns:a16="http://schemas.microsoft.com/office/drawing/2014/main" id="{4406F0C7-2D04-9BF5-45FA-0A52B55E14AE}"/>
                </a:ext>
              </a:extLst>
            </p:cNvPr>
            <p:cNvSpPr/>
            <p:nvPr/>
          </p:nvSpPr>
          <p:spPr>
            <a:xfrm flipV="1">
              <a:off x="238158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4" name="Straight Connector 585">
              <a:extLst>
                <a:ext uri="{FF2B5EF4-FFF2-40B4-BE49-F238E27FC236}">
                  <a16:creationId xmlns:a16="http://schemas.microsoft.com/office/drawing/2014/main" id="{D34FA228-F9EA-EF4A-4387-6EFC21320092}"/>
                </a:ext>
              </a:extLst>
            </p:cNvPr>
            <p:cNvSpPr/>
            <p:nvPr/>
          </p:nvSpPr>
          <p:spPr>
            <a:xfrm>
              <a:off x="238310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5" name="Straight Connector 586">
              <a:extLst>
                <a:ext uri="{FF2B5EF4-FFF2-40B4-BE49-F238E27FC236}">
                  <a16:creationId xmlns:a16="http://schemas.microsoft.com/office/drawing/2014/main" id="{48B6B042-25DE-AE84-8AE5-3097B8760CB7}"/>
                </a:ext>
              </a:extLst>
            </p:cNvPr>
            <p:cNvSpPr/>
            <p:nvPr/>
          </p:nvSpPr>
          <p:spPr>
            <a:xfrm flipV="1">
              <a:off x="2381588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6" name="Straight Connector 587">
              <a:extLst>
                <a:ext uri="{FF2B5EF4-FFF2-40B4-BE49-F238E27FC236}">
                  <a16:creationId xmlns:a16="http://schemas.microsoft.com/office/drawing/2014/main" id="{F39B8B5D-12BF-D52E-4B6B-41836D7405B1}"/>
                </a:ext>
              </a:extLst>
            </p:cNvPr>
            <p:cNvSpPr/>
            <p:nvPr/>
          </p:nvSpPr>
          <p:spPr>
            <a:xfrm>
              <a:off x="238320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7" name="Straight Connector 588">
              <a:extLst>
                <a:ext uri="{FF2B5EF4-FFF2-40B4-BE49-F238E27FC236}">
                  <a16:creationId xmlns:a16="http://schemas.microsoft.com/office/drawing/2014/main" id="{0C52DE72-31A5-1DA7-C608-44E534C172B3}"/>
                </a:ext>
              </a:extLst>
            </p:cNvPr>
            <p:cNvSpPr/>
            <p:nvPr/>
          </p:nvSpPr>
          <p:spPr>
            <a:xfrm>
              <a:off x="2383233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8" name="Straight Connector 589">
              <a:extLst>
                <a:ext uri="{FF2B5EF4-FFF2-40B4-BE49-F238E27FC236}">
                  <a16:creationId xmlns:a16="http://schemas.microsoft.com/office/drawing/2014/main" id="{3F1302D6-4DA4-1690-8CFA-B5603FD69B19}"/>
                </a:ext>
              </a:extLst>
            </p:cNvPr>
            <p:cNvSpPr/>
            <p:nvPr/>
          </p:nvSpPr>
          <p:spPr>
            <a:xfrm>
              <a:off x="238229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9" name="Straight Connector 590">
              <a:extLst>
                <a:ext uri="{FF2B5EF4-FFF2-40B4-BE49-F238E27FC236}">
                  <a16:creationId xmlns:a16="http://schemas.microsoft.com/office/drawing/2014/main" id="{CBC60F74-8D2B-CBB7-1846-3C69C0E7AE42}"/>
                </a:ext>
              </a:extLst>
            </p:cNvPr>
            <p:cNvSpPr/>
            <p:nvPr/>
          </p:nvSpPr>
          <p:spPr>
            <a:xfrm>
              <a:off x="2381547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0" name="Straight Connector 591">
              <a:extLst>
                <a:ext uri="{FF2B5EF4-FFF2-40B4-BE49-F238E27FC236}">
                  <a16:creationId xmlns:a16="http://schemas.microsoft.com/office/drawing/2014/main" id="{AFBAE839-150A-FFE4-7C5B-F6D70ACA2DC0}"/>
                </a:ext>
              </a:extLst>
            </p:cNvPr>
            <p:cNvSpPr/>
            <p:nvPr/>
          </p:nvSpPr>
          <p:spPr>
            <a:xfrm>
              <a:off x="238305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1" name="Straight Connector 592">
              <a:extLst>
                <a:ext uri="{FF2B5EF4-FFF2-40B4-BE49-F238E27FC236}">
                  <a16:creationId xmlns:a16="http://schemas.microsoft.com/office/drawing/2014/main" id="{6F251E92-2245-E71A-607F-92A8AEF719FE}"/>
                </a:ext>
              </a:extLst>
            </p:cNvPr>
            <p:cNvSpPr/>
            <p:nvPr/>
          </p:nvSpPr>
          <p:spPr>
            <a:xfrm flipH="1">
              <a:off x="237876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2" name="Straight Connector 523">
              <a:extLst>
                <a:ext uri="{FF2B5EF4-FFF2-40B4-BE49-F238E27FC236}">
                  <a16:creationId xmlns:a16="http://schemas.microsoft.com/office/drawing/2014/main" id="{9DE9880A-D82E-9C3D-FAF2-5FAA1508A19D}"/>
                </a:ext>
              </a:extLst>
            </p:cNvPr>
            <p:cNvSpPr/>
            <p:nvPr/>
          </p:nvSpPr>
          <p:spPr>
            <a:xfrm flipH="1">
              <a:off x="2752067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3" name="Straight Connector 540">
              <a:extLst>
                <a:ext uri="{FF2B5EF4-FFF2-40B4-BE49-F238E27FC236}">
                  <a16:creationId xmlns:a16="http://schemas.microsoft.com/office/drawing/2014/main" id="{83C97937-8513-5588-3EBA-F8ACB7B18D5F}"/>
                </a:ext>
              </a:extLst>
            </p:cNvPr>
            <p:cNvSpPr/>
            <p:nvPr/>
          </p:nvSpPr>
          <p:spPr>
            <a:xfrm flipH="1">
              <a:off x="2753655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4" name="Straight Connector 553">
              <a:extLst>
                <a:ext uri="{FF2B5EF4-FFF2-40B4-BE49-F238E27FC236}">
                  <a16:creationId xmlns:a16="http://schemas.microsoft.com/office/drawing/2014/main" id="{6332D4E2-176D-61FC-AA1D-ABE8E1A71401}"/>
                </a:ext>
              </a:extLst>
            </p:cNvPr>
            <p:cNvSpPr/>
            <p:nvPr/>
          </p:nvSpPr>
          <p:spPr>
            <a:xfrm flipH="1">
              <a:off x="2750363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5" name="Straight Connector 565">
              <a:extLst>
                <a:ext uri="{FF2B5EF4-FFF2-40B4-BE49-F238E27FC236}">
                  <a16:creationId xmlns:a16="http://schemas.microsoft.com/office/drawing/2014/main" id="{E3FC2974-A30C-7DF5-A3AE-1005D57871F2}"/>
                </a:ext>
              </a:extLst>
            </p:cNvPr>
            <p:cNvSpPr/>
            <p:nvPr/>
          </p:nvSpPr>
          <p:spPr>
            <a:xfrm flipV="1">
              <a:off x="2753656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6" name="Straight Connector 566">
              <a:extLst>
                <a:ext uri="{FF2B5EF4-FFF2-40B4-BE49-F238E27FC236}">
                  <a16:creationId xmlns:a16="http://schemas.microsoft.com/office/drawing/2014/main" id="{3E161D00-1993-B1B1-DEDA-969ADA2720D0}"/>
                </a:ext>
              </a:extLst>
            </p:cNvPr>
            <p:cNvSpPr/>
            <p:nvPr/>
          </p:nvSpPr>
          <p:spPr>
            <a:xfrm flipV="1">
              <a:off x="2755279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7" name="Straight Connector 583">
              <a:extLst>
                <a:ext uri="{FF2B5EF4-FFF2-40B4-BE49-F238E27FC236}">
                  <a16:creationId xmlns:a16="http://schemas.microsoft.com/office/drawing/2014/main" id="{47B286C5-977E-0CB4-F8F7-67A54ED60E29}"/>
                </a:ext>
              </a:extLst>
            </p:cNvPr>
            <p:cNvSpPr/>
            <p:nvPr/>
          </p:nvSpPr>
          <p:spPr>
            <a:xfrm flipV="1">
              <a:off x="2755279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8" name="Straight Connector 584">
              <a:extLst>
                <a:ext uri="{FF2B5EF4-FFF2-40B4-BE49-F238E27FC236}">
                  <a16:creationId xmlns:a16="http://schemas.microsoft.com/office/drawing/2014/main" id="{7C2D1953-3C16-AE97-0303-FFCA475C0FF6}"/>
                </a:ext>
              </a:extLst>
            </p:cNvPr>
            <p:cNvSpPr/>
            <p:nvPr/>
          </p:nvSpPr>
          <p:spPr>
            <a:xfrm flipV="1">
              <a:off x="2753656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9" name="Straight Connector 585">
              <a:extLst>
                <a:ext uri="{FF2B5EF4-FFF2-40B4-BE49-F238E27FC236}">
                  <a16:creationId xmlns:a16="http://schemas.microsoft.com/office/drawing/2014/main" id="{E9F49A7D-BBDE-EF44-BC2A-1B96A9DA0F95}"/>
                </a:ext>
              </a:extLst>
            </p:cNvPr>
            <p:cNvSpPr/>
            <p:nvPr/>
          </p:nvSpPr>
          <p:spPr>
            <a:xfrm>
              <a:off x="2755176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0" name="Straight Connector 586">
              <a:extLst>
                <a:ext uri="{FF2B5EF4-FFF2-40B4-BE49-F238E27FC236}">
                  <a16:creationId xmlns:a16="http://schemas.microsoft.com/office/drawing/2014/main" id="{5CB86B17-A6E7-C0F8-4D96-8D420A65D02A}"/>
                </a:ext>
              </a:extLst>
            </p:cNvPr>
            <p:cNvSpPr/>
            <p:nvPr/>
          </p:nvSpPr>
          <p:spPr>
            <a:xfrm flipV="1">
              <a:off x="2753656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1" name="Straight Connector 587">
              <a:extLst>
                <a:ext uri="{FF2B5EF4-FFF2-40B4-BE49-F238E27FC236}">
                  <a16:creationId xmlns:a16="http://schemas.microsoft.com/office/drawing/2014/main" id="{2F82DC2B-9FE9-C6EF-DBB6-F7C9A13D1A60}"/>
                </a:ext>
              </a:extLst>
            </p:cNvPr>
            <p:cNvSpPr/>
            <p:nvPr/>
          </p:nvSpPr>
          <p:spPr>
            <a:xfrm>
              <a:off x="2755277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2" name="Straight Connector 588">
              <a:extLst>
                <a:ext uri="{FF2B5EF4-FFF2-40B4-BE49-F238E27FC236}">
                  <a16:creationId xmlns:a16="http://schemas.microsoft.com/office/drawing/2014/main" id="{9E442C70-D67F-E536-0327-82B8D9B5BF67}"/>
                </a:ext>
              </a:extLst>
            </p:cNvPr>
            <p:cNvSpPr/>
            <p:nvPr/>
          </p:nvSpPr>
          <p:spPr>
            <a:xfrm>
              <a:off x="2755301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3" name="Straight Connector 589">
              <a:extLst>
                <a:ext uri="{FF2B5EF4-FFF2-40B4-BE49-F238E27FC236}">
                  <a16:creationId xmlns:a16="http://schemas.microsoft.com/office/drawing/2014/main" id="{79887013-3CD1-BCB0-6BE6-7356DFEC9826}"/>
                </a:ext>
              </a:extLst>
            </p:cNvPr>
            <p:cNvSpPr/>
            <p:nvPr/>
          </p:nvSpPr>
          <p:spPr>
            <a:xfrm>
              <a:off x="2754361" y="510166"/>
              <a:ext cx="281642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4" name="Straight Connector 590">
              <a:extLst>
                <a:ext uri="{FF2B5EF4-FFF2-40B4-BE49-F238E27FC236}">
                  <a16:creationId xmlns:a16="http://schemas.microsoft.com/office/drawing/2014/main" id="{5DF001F3-66AF-FB75-02AD-9727F368ED0E}"/>
                </a:ext>
              </a:extLst>
            </p:cNvPr>
            <p:cNvSpPr/>
            <p:nvPr/>
          </p:nvSpPr>
          <p:spPr>
            <a:xfrm>
              <a:off x="2753615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5" name="Straight Connector 591">
              <a:extLst>
                <a:ext uri="{FF2B5EF4-FFF2-40B4-BE49-F238E27FC236}">
                  <a16:creationId xmlns:a16="http://schemas.microsoft.com/office/drawing/2014/main" id="{DB90E99E-6E1E-53F6-4C54-6FBBDEBFF529}"/>
                </a:ext>
              </a:extLst>
            </p:cNvPr>
            <p:cNvSpPr/>
            <p:nvPr/>
          </p:nvSpPr>
          <p:spPr>
            <a:xfrm>
              <a:off x="2755125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6" name="Straight Connector 592">
              <a:extLst>
                <a:ext uri="{FF2B5EF4-FFF2-40B4-BE49-F238E27FC236}">
                  <a16:creationId xmlns:a16="http://schemas.microsoft.com/office/drawing/2014/main" id="{C7630603-07A0-7F98-A814-17434BCDF69B}"/>
                </a:ext>
              </a:extLst>
            </p:cNvPr>
            <p:cNvSpPr/>
            <p:nvPr/>
          </p:nvSpPr>
          <p:spPr>
            <a:xfrm flipH="1">
              <a:off x="2750833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7" name="Oval 499">
              <a:extLst>
                <a:ext uri="{FF2B5EF4-FFF2-40B4-BE49-F238E27FC236}">
                  <a16:creationId xmlns:a16="http://schemas.microsoft.com/office/drawing/2014/main" id="{591A14DB-18CD-28C1-6174-009F659A2A4F}"/>
                </a:ext>
              </a:extLst>
            </p:cNvPr>
            <p:cNvSpPr/>
            <p:nvPr/>
          </p:nvSpPr>
          <p:spPr>
            <a:xfrm flipH="1">
              <a:off x="3001262" y="68296"/>
              <a:ext cx="152116" cy="152115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68" name="Oval 506">
              <a:extLst>
                <a:ext uri="{FF2B5EF4-FFF2-40B4-BE49-F238E27FC236}">
                  <a16:creationId xmlns:a16="http://schemas.microsoft.com/office/drawing/2014/main" id="{D0D6C8F4-2E9C-3E07-016B-1EDB1F90ADA1}"/>
                </a:ext>
              </a:extLst>
            </p:cNvPr>
            <p:cNvSpPr/>
            <p:nvPr/>
          </p:nvSpPr>
          <p:spPr>
            <a:xfrm flipH="1">
              <a:off x="2959366" y="393835"/>
              <a:ext cx="235908" cy="235909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69" name="Oval 529">
              <a:extLst>
                <a:ext uri="{FF2B5EF4-FFF2-40B4-BE49-F238E27FC236}">
                  <a16:creationId xmlns:a16="http://schemas.microsoft.com/office/drawing/2014/main" id="{E37083F2-E8B3-FFFE-5BC4-80DFC6E3A5F7}"/>
                </a:ext>
              </a:extLst>
            </p:cNvPr>
            <p:cNvSpPr/>
            <p:nvPr/>
          </p:nvSpPr>
          <p:spPr>
            <a:xfrm flipH="1">
              <a:off x="3018542" y="824765"/>
              <a:ext cx="117556" cy="117556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0" name="Oval 542">
              <a:extLst>
                <a:ext uri="{FF2B5EF4-FFF2-40B4-BE49-F238E27FC236}">
                  <a16:creationId xmlns:a16="http://schemas.microsoft.com/office/drawing/2014/main" id="{BEB2C1C1-0872-CE17-51B5-09DB09E464C5}"/>
                </a:ext>
              </a:extLst>
            </p:cNvPr>
            <p:cNvSpPr/>
            <p:nvPr/>
          </p:nvSpPr>
          <p:spPr>
            <a:xfrm flipH="1">
              <a:off x="2984848" y="1158058"/>
              <a:ext cx="177419" cy="177420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1" name="Oval 501">
              <a:extLst>
                <a:ext uri="{FF2B5EF4-FFF2-40B4-BE49-F238E27FC236}">
                  <a16:creationId xmlns:a16="http://schemas.microsoft.com/office/drawing/2014/main" id="{269EEC14-EAE0-FC31-B596-87F99357DA35}"/>
                </a:ext>
              </a:extLst>
            </p:cNvPr>
            <p:cNvSpPr/>
            <p:nvPr/>
          </p:nvSpPr>
          <p:spPr>
            <a:xfrm flipH="1">
              <a:off x="2273337" y="79336"/>
              <a:ext cx="117557" cy="117555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2" name="Oval 508">
              <a:extLst>
                <a:ext uri="{FF2B5EF4-FFF2-40B4-BE49-F238E27FC236}">
                  <a16:creationId xmlns:a16="http://schemas.microsoft.com/office/drawing/2014/main" id="{41759F7C-AD92-50A6-CA56-89E999AAD99F}"/>
                </a:ext>
              </a:extLst>
            </p:cNvPr>
            <p:cNvSpPr/>
            <p:nvPr/>
          </p:nvSpPr>
          <p:spPr>
            <a:xfrm flipH="1">
              <a:off x="2243406" y="423080"/>
              <a:ext cx="177419" cy="17741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3" name="Oval 531">
              <a:extLst>
                <a:ext uri="{FF2B5EF4-FFF2-40B4-BE49-F238E27FC236}">
                  <a16:creationId xmlns:a16="http://schemas.microsoft.com/office/drawing/2014/main" id="{9AFA8471-F06A-3A47-DD93-BDA13CE6123E}"/>
                </a:ext>
              </a:extLst>
            </p:cNvPr>
            <p:cNvSpPr/>
            <p:nvPr/>
          </p:nvSpPr>
          <p:spPr>
            <a:xfrm flipH="1">
              <a:off x="2205214" y="771820"/>
              <a:ext cx="253803" cy="253804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4" name="Oval 544">
              <a:extLst>
                <a:ext uri="{FF2B5EF4-FFF2-40B4-BE49-F238E27FC236}">
                  <a16:creationId xmlns:a16="http://schemas.microsoft.com/office/drawing/2014/main" id="{81D0455A-50DD-B846-545B-2F8EC93FA988}"/>
                </a:ext>
              </a:extLst>
            </p:cNvPr>
            <p:cNvSpPr/>
            <p:nvPr/>
          </p:nvSpPr>
          <p:spPr>
            <a:xfrm flipH="1">
              <a:off x="2235975" y="1161616"/>
              <a:ext cx="192281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5" name="Oval 507">
              <a:extLst>
                <a:ext uri="{FF2B5EF4-FFF2-40B4-BE49-F238E27FC236}">
                  <a16:creationId xmlns:a16="http://schemas.microsoft.com/office/drawing/2014/main" id="{289FB57E-796B-E134-8F31-7B1C89FB28D1}"/>
                </a:ext>
              </a:extLst>
            </p:cNvPr>
            <p:cNvSpPr/>
            <p:nvPr/>
          </p:nvSpPr>
          <p:spPr>
            <a:xfrm flipH="1">
              <a:off x="2650307" y="453011"/>
              <a:ext cx="117556" cy="11755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6" name="Oval 530">
              <a:extLst>
                <a:ext uri="{FF2B5EF4-FFF2-40B4-BE49-F238E27FC236}">
                  <a16:creationId xmlns:a16="http://schemas.microsoft.com/office/drawing/2014/main" id="{0E197D0F-236F-BBAC-9DA4-591B63358A94}"/>
                </a:ext>
              </a:extLst>
            </p:cNvPr>
            <p:cNvSpPr/>
            <p:nvPr/>
          </p:nvSpPr>
          <p:spPr>
            <a:xfrm flipH="1">
              <a:off x="2619305" y="793763"/>
              <a:ext cx="179561" cy="17956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7" name="Oval 543">
              <a:extLst>
                <a:ext uri="{FF2B5EF4-FFF2-40B4-BE49-F238E27FC236}">
                  <a16:creationId xmlns:a16="http://schemas.microsoft.com/office/drawing/2014/main" id="{9706476D-40FE-7B32-3342-679CB0B11BE7}"/>
                </a:ext>
              </a:extLst>
            </p:cNvPr>
            <p:cNvSpPr/>
            <p:nvPr/>
          </p:nvSpPr>
          <p:spPr>
            <a:xfrm flipH="1">
              <a:off x="2650307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8" name="Oval 500">
              <a:extLst>
                <a:ext uri="{FF2B5EF4-FFF2-40B4-BE49-F238E27FC236}">
                  <a16:creationId xmlns:a16="http://schemas.microsoft.com/office/drawing/2014/main" id="{E0305E14-7FDB-E2DB-F0F7-CBAA4841FDA5}"/>
                </a:ext>
              </a:extLst>
            </p:cNvPr>
            <p:cNvSpPr/>
            <p:nvPr/>
          </p:nvSpPr>
          <p:spPr>
            <a:xfrm flipH="1">
              <a:off x="2596976" y="32244"/>
              <a:ext cx="224218" cy="224218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grpSp>
        <p:nvGrpSpPr>
          <p:cNvPr id="179" name="Group 621">
            <a:extLst>
              <a:ext uri="{FF2B5EF4-FFF2-40B4-BE49-F238E27FC236}">
                <a16:creationId xmlns:a16="http://schemas.microsoft.com/office/drawing/2014/main" id="{D1260C64-5FE5-F526-EFA2-79C194E9F8DF}"/>
              </a:ext>
            </a:extLst>
          </p:cNvPr>
          <p:cNvGrpSpPr/>
          <p:nvPr/>
        </p:nvGrpSpPr>
        <p:grpSpPr>
          <a:xfrm>
            <a:off x="5444762" y="4053791"/>
            <a:ext cx="215900" cy="218243"/>
            <a:chOff x="0" y="0"/>
            <a:chExt cx="431799" cy="436483"/>
          </a:xfrm>
        </p:grpSpPr>
        <p:sp>
          <p:nvSpPr>
            <p:cNvPr id="180" name="Rectangle 623">
              <a:extLst>
                <a:ext uri="{FF2B5EF4-FFF2-40B4-BE49-F238E27FC236}">
                  <a16:creationId xmlns:a16="http://schemas.microsoft.com/office/drawing/2014/main" id="{EB1FCFC4-499C-55A9-6506-854A7B9F1727}"/>
                </a:ext>
              </a:extLst>
            </p:cNvPr>
            <p:cNvSpPr/>
            <p:nvPr/>
          </p:nvSpPr>
          <p:spPr>
            <a:xfrm>
              <a:off x="135296" y="0"/>
              <a:ext cx="296504" cy="296505"/>
            </a:xfrm>
            <a:prstGeom prst="rect">
              <a:avLst/>
            </a:prstGeom>
            <a:solidFill>
              <a:srgbClr val="0F62FE"/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pPr marL="0" marR="0" lvl="0" indent="0" algn="l" defTabSz="914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pic>
          <p:nvPicPr>
            <p:cNvPr id="181" name="Graphic 632" descr="Graphic 632">
              <a:extLst>
                <a:ext uri="{FF2B5EF4-FFF2-40B4-BE49-F238E27FC236}">
                  <a16:creationId xmlns:a16="http://schemas.microsoft.com/office/drawing/2014/main" id="{5BE5A017-C49C-C39A-6F1C-67189669EF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0" y="259902"/>
              <a:ext cx="176580" cy="17658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2" name="Graphic 633" descr="Graphic 633">
              <a:extLst>
                <a:ext uri="{FF2B5EF4-FFF2-40B4-BE49-F238E27FC236}">
                  <a16:creationId xmlns:a16="http://schemas.microsoft.com/office/drawing/2014/main" id="{5A526386-AD02-86D3-D9D0-F6E281760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930" y="15706"/>
              <a:ext cx="268941" cy="2689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83" name="Straight Connector 22">
            <a:extLst>
              <a:ext uri="{FF2B5EF4-FFF2-40B4-BE49-F238E27FC236}">
                <a16:creationId xmlns:a16="http://schemas.microsoft.com/office/drawing/2014/main" id="{0F685DAF-7D43-96CA-DBF7-5C172B39D55D}"/>
              </a:ext>
            </a:extLst>
          </p:cNvPr>
          <p:cNvSpPr/>
          <p:nvPr/>
        </p:nvSpPr>
        <p:spPr>
          <a:xfrm>
            <a:off x="9237888" y="2474523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grpSp>
        <p:nvGrpSpPr>
          <p:cNvPr id="184" name="Group 621">
            <a:extLst>
              <a:ext uri="{FF2B5EF4-FFF2-40B4-BE49-F238E27FC236}">
                <a16:creationId xmlns:a16="http://schemas.microsoft.com/office/drawing/2014/main" id="{CFE75AA3-39BB-F34D-3455-D7E2C1FE43F4}"/>
              </a:ext>
            </a:extLst>
          </p:cNvPr>
          <p:cNvGrpSpPr/>
          <p:nvPr/>
        </p:nvGrpSpPr>
        <p:grpSpPr>
          <a:xfrm>
            <a:off x="5444762" y="5792763"/>
            <a:ext cx="215900" cy="218243"/>
            <a:chOff x="0" y="0"/>
            <a:chExt cx="431799" cy="436483"/>
          </a:xfrm>
        </p:grpSpPr>
        <p:sp>
          <p:nvSpPr>
            <p:cNvPr id="185" name="Rectangle 623">
              <a:extLst>
                <a:ext uri="{FF2B5EF4-FFF2-40B4-BE49-F238E27FC236}">
                  <a16:creationId xmlns:a16="http://schemas.microsoft.com/office/drawing/2014/main" id="{FD006859-8D24-AE97-2B01-1D8E5F80898B}"/>
                </a:ext>
              </a:extLst>
            </p:cNvPr>
            <p:cNvSpPr/>
            <p:nvPr/>
          </p:nvSpPr>
          <p:spPr>
            <a:xfrm>
              <a:off x="135296" y="0"/>
              <a:ext cx="296504" cy="296505"/>
            </a:xfrm>
            <a:prstGeom prst="rect">
              <a:avLst/>
            </a:prstGeom>
            <a:solidFill>
              <a:srgbClr val="8A3FFC"/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pPr marL="0" marR="0" lvl="0" indent="0" algn="l" defTabSz="914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pic>
          <p:nvPicPr>
            <p:cNvPr id="186" name="Graphic 632" descr="Graphic 632">
              <a:extLst>
                <a:ext uri="{FF2B5EF4-FFF2-40B4-BE49-F238E27FC236}">
                  <a16:creationId xmlns:a16="http://schemas.microsoft.com/office/drawing/2014/main" id="{7A3142E8-31C4-E3E0-27EA-EFAF6E9C2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0" y="259902"/>
              <a:ext cx="176580" cy="17658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7" name="Graphic 633" descr="Graphic 633">
              <a:extLst>
                <a:ext uri="{FF2B5EF4-FFF2-40B4-BE49-F238E27FC236}">
                  <a16:creationId xmlns:a16="http://schemas.microsoft.com/office/drawing/2014/main" id="{52AF7C85-7E05-49BF-48EA-DB602AAFC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3930" y="15706"/>
              <a:ext cx="268941" cy="2689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8" name="Group 621">
            <a:extLst>
              <a:ext uri="{FF2B5EF4-FFF2-40B4-BE49-F238E27FC236}">
                <a16:creationId xmlns:a16="http://schemas.microsoft.com/office/drawing/2014/main" id="{67673246-87F6-D3BC-2F52-79359401DF88}"/>
              </a:ext>
            </a:extLst>
          </p:cNvPr>
          <p:cNvGrpSpPr/>
          <p:nvPr/>
        </p:nvGrpSpPr>
        <p:grpSpPr>
          <a:xfrm>
            <a:off x="5444762" y="4923276"/>
            <a:ext cx="215900" cy="218243"/>
            <a:chOff x="0" y="0"/>
            <a:chExt cx="431799" cy="436483"/>
          </a:xfrm>
        </p:grpSpPr>
        <p:sp>
          <p:nvSpPr>
            <p:cNvPr id="189" name="Rectangle 623">
              <a:extLst>
                <a:ext uri="{FF2B5EF4-FFF2-40B4-BE49-F238E27FC236}">
                  <a16:creationId xmlns:a16="http://schemas.microsoft.com/office/drawing/2014/main" id="{D1FAD645-C7DD-5798-EE43-5ADF5605F1E1}"/>
                </a:ext>
              </a:extLst>
            </p:cNvPr>
            <p:cNvSpPr/>
            <p:nvPr/>
          </p:nvSpPr>
          <p:spPr>
            <a:xfrm>
              <a:off x="135296" y="0"/>
              <a:ext cx="296504" cy="296505"/>
            </a:xfrm>
            <a:prstGeom prst="rect">
              <a:avLst/>
            </a:prstGeom>
            <a:solidFill>
              <a:srgbClr val="922752"/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pPr marL="0" marR="0" lvl="0" indent="0" algn="l" defTabSz="914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pic>
          <p:nvPicPr>
            <p:cNvPr id="190" name="Graphic 632" descr="Graphic 632">
              <a:extLst>
                <a:ext uri="{FF2B5EF4-FFF2-40B4-BE49-F238E27FC236}">
                  <a16:creationId xmlns:a16="http://schemas.microsoft.com/office/drawing/2014/main" id="{F86541DC-E11B-52C7-F52F-F97DA322C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tx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0" y="259902"/>
              <a:ext cx="176580" cy="17658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91" name="Graphic 633" descr="Graphic 633">
              <a:extLst>
                <a:ext uri="{FF2B5EF4-FFF2-40B4-BE49-F238E27FC236}">
                  <a16:creationId xmlns:a16="http://schemas.microsoft.com/office/drawing/2014/main" id="{91E92C97-8D65-604C-F2F1-A8DCCA514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>
            <a:xfrm>
              <a:off x="153930" y="15706"/>
              <a:ext cx="268941" cy="2689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92" name="Straight Connector 22">
            <a:extLst>
              <a:ext uri="{FF2B5EF4-FFF2-40B4-BE49-F238E27FC236}">
                <a16:creationId xmlns:a16="http://schemas.microsoft.com/office/drawing/2014/main" id="{8F8DD781-F569-F8F9-206D-CF351A0C0895}"/>
              </a:ext>
            </a:extLst>
          </p:cNvPr>
          <p:cNvSpPr/>
          <p:nvPr/>
        </p:nvSpPr>
        <p:spPr>
          <a:xfrm>
            <a:off x="6771139" y="4162912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r" defTabSz="914377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sp>
        <p:nvSpPr>
          <p:cNvPr id="193" name="Straight Connector 22">
            <a:extLst>
              <a:ext uri="{FF2B5EF4-FFF2-40B4-BE49-F238E27FC236}">
                <a16:creationId xmlns:a16="http://schemas.microsoft.com/office/drawing/2014/main" id="{1539A04C-B570-BC5E-EE55-796BFFF809F9}"/>
              </a:ext>
            </a:extLst>
          </p:cNvPr>
          <p:cNvSpPr/>
          <p:nvPr/>
        </p:nvSpPr>
        <p:spPr>
          <a:xfrm>
            <a:off x="6771139" y="5005304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sp>
        <p:nvSpPr>
          <p:cNvPr id="194" name="Straight Connector 22">
            <a:extLst>
              <a:ext uri="{FF2B5EF4-FFF2-40B4-BE49-F238E27FC236}">
                <a16:creationId xmlns:a16="http://schemas.microsoft.com/office/drawing/2014/main" id="{46D9CC7C-A2FB-D42A-D6FF-4FEF8F6F7DA3}"/>
              </a:ext>
            </a:extLst>
          </p:cNvPr>
          <p:cNvSpPr/>
          <p:nvPr/>
        </p:nvSpPr>
        <p:spPr>
          <a:xfrm>
            <a:off x="6771139" y="5861244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pic>
        <p:nvPicPr>
          <p:cNvPr id="195" name="Picture 9" descr="Picture 9">
            <a:extLst>
              <a:ext uri="{FF2B5EF4-FFF2-40B4-BE49-F238E27FC236}">
                <a16:creationId xmlns:a16="http://schemas.microsoft.com/office/drawing/2014/main" id="{AFE25037-8BF4-2F39-C860-8767993126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43182" y="3840549"/>
            <a:ext cx="1457812" cy="585216"/>
          </a:xfrm>
          <a:prstGeom prst="rect">
            <a:avLst/>
          </a:prstGeom>
          <a:ln w="12700">
            <a:miter lim="400000"/>
          </a:ln>
        </p:spPr>
      </p:pic>
      <p:pic>
        <p:nvPicPr>
          <p:cNvPr id="196" name="Picture 362" descr="Picture 362">
            <a:extLst>
              <a:ext uri="{FF2B5EF4-FFF2-40B4-BE49-F238E27FC236}">
                <a16:creationId xmlns:a16="http://schemas.microsoft.com/office/drawing/2014/main" id="{DCE3DB23-5C0D-BF74-7DA9-E4581A6BD4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3133" y="5435317"/>
            <a:ext cx="1457815" cy="585216"/>
          </a:xfrm>
          <a:prstGeom prst="rect">
            <a:avLst/>
          </a:prstGeom>
          <a:ln w="12700">
            <a:miter lim="400000"/>
          </a:ln>
        </p:spPr>
      </p:pic>
      <p:pic>
        <p:nvPicPr>
          <p:cNvPr id="197" name="Picture 362" descr="Picture 362">
            <a:extLst>
              <a:ext uri="{FF2B5EF4-FFF2-40B4-BE49-F238E27FC236}">
                <a16:creationId xmlns:a16="http://schemas.microsoft.com/office/drawing/2014/main" id="{4A9B65B2-2CCB-9A76-A9A7-27684DDDC8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51643" y="4637933"/>
            <a:ext cx="1457815" cy="585216"/>
          </a:xfrm>
          <a:prstGeom prst="rect">
            <a:avLst/>
          </a:prstGeom>
          <a:ln w="12700">
            <a:miter lim="400000"/>
          </a:ln>
        </p:spPr>
      </p:pic>
      <p:pic>
        <p:nvPicPr>
          <p:cNvPr id="198" name="Image" descr="Image">
            <a:extLst>
              <a:ext uri="{FF2B5EF4-FFF2-40B4-BE49-F238E27FC236}">
                <a16:creationId xmlns:a16="http://schemas.microsoft.com/office/drawing/2014/main" id="{F5018157-12DD-53BA-917D-E6E3241C41EA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tx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8742" y="4721227"/>
            <a:ext cx="405207" cy="405516"/>
          </a:xfrm>
          <a:prstGeom prst="rect">
            <a:avLst/>
          </a:prstGeom>
          <a:ln w="12700">
            <a:miter lim="400000"/>
          </a:ln>
        </p:spPr>
      </p:pic>
      <p:sp>
        <p:nvSpPr>
          <p:cNvPr id="199" name="TextBox 638">
            <a:extLst>
              <a:ext uri="{FF2B5EF4-FFF2-40B4-BE49-F238E27FC236}">
                <a16:creationId xmlns:a16="http://schemas.microsoft.com/office/drawing/2014/main" id="{9A35F26A-A6A8-89B2-5100-C993E958CB1B}"/>
              </a:ext>
            </a:extLst>
          </p:cNvPr>
          <p:cNvSpPr txBox="1"/>
          <p:nvPr/>
        </p:nvSpPr>
        <p:spPr>
          <a:xfrm>
            <a:off x="1011466" y="2267564"/>
            <a:ext cx="1706527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Sel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-supervise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training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sp>
        <p:nvSpPr>
          <p:cNvPr id="200" name="TextBox 638">
            <a:extLst>
              <a:ext uri="{FF2B5EF4-FFF2-40B4-BE49-F238E27FC236}">
                <a16:creationId xmlns:a16="http://schemas.microsoft.com/office/drawing/2014/main" id="{F87453EC-E475-645A-814A-DCDF7C9DA380}"/>
              </a:ext>
            </a:extLst>
          </p:cNvPr>
          <p:cNvSpPr txBox="1"/>
          <p:nvPr/>
        </p:nvSpPr>
        <p:spPr>
          <a:xfrm>
            <a:off x="973663" y="4726864"/>
            <a:ext cx="1391991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Tas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-specific 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fine-tuning 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pic>
        <p:nvPicPr>
          <p:cNvPr id="201" name="Graphic 200" descr="Monitor with solid fill">
            <a:extLst>
              <a:ext uri="{FF2B5EF4-FFF2-40B4-BE49-F238E27FC236}">
                <a16:creationId xmlns:a16="http://schemas.microsoft.com/office/drawing/2014/main" id="{1BD17958-566C-A19A-2D9F-A146673F0CC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4911" y="2258113"/>
            <a:ext cx="538752" cy="538752"/>
          </a:xfrm>
          <a:prstGeom prst="rect">
            <a:avLst/>
          </a:prstGeom>
        </p:spPr>
      </p:pic>
      <p:sp>
        <p:nvSpPr>
          <p:cNvPr id="202" name="TextBox 638">
            <a:extLst>
              <a:ext uri="{FF2B5EF4-FFF2-40B4-BE49-F238E27FC236}">
                <a16:creationId xmlns:a16="http://schemas.microsoft.com/office/drawing/2014/main" id="{67DE12E1-0EC1-1E62-1EF1-0C016C44B54A}"/>
              </a:ext>
            </a:extLst>
          </p:cNvPr>
          <p:cNvSpPr txBox="1"/>
          <p:nvPr/>
        </p:nvSpPr>
        <p:spPr>
          <a:xfrm>
            <a:off x="9893699" y="1807511"/>
            <a:ext cx="194907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Foundation model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4B877D-ED8A-C2AF-0920-4E05C257B565}"/>
              </a:ext>
            </a:extLst>
          </p:cNvPr>
          <p:cNvGrpSpPr/>
          <p:nvPr/>
        </p:nvGrpSpPr>
        <p:grpSpPr>
          <a:xfrm>
            <a:off x="9815044" y="3902014"/>
            <a:ext cx="1981457" cy="2072133"/>
            <a:chOff x="7361282" y="2926510"/>
            <a:chExt cx="1486093" cy="1554100"/>
          </a:xfrm>
        </p:grpSpPr>
        <p:sp>
          <p:nvSpPr>
            <p:cNvPr id="204" name="TextBox 638">
              <a:extLst>
                <a:ext uri="{FF2B5EF4-FFF2-40B4-BE49-F238E27FC236}">
                  <a16:creationId xmlns:a16="http://schemas.microsoft.com/office/drawing/2014/main" id="{F98CF22C-9D79-3BA9-4619-FFA1E3CBCE95}"/>
                </a:ext>
              </a:extLst>
            </p:cNvPr>
            <p:cNvSpPr txBox="1"/>
            <p:nvPr/>
          </p:nvSpPr>
          <p:spPr>
            <a:xfrm>
              <a:off x="7385567" y="2926510"/>
              <a:ext cx="1461808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Translatio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model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05" name="TextBox 638">
              <a:extLst>
                <a:ext uri="{FF2B5EF4-FFF2-40B4-BE49-F238E27FC236}">
                  <a16:creationId xmlns:a16="http://schemas.microsoft.com/office/drawing/2014/main" id="{63D326FD-8B4C-8175-2D11-9A67B5B5EA39}"/>
                </a:ext>
              </a:extLst>
            </p:cNvPr>
            <p:cNvSpPr txBox="1"/>
            <p:nvPr/>
          </p:nvSpPr>
          <p:spPr>
            <a:xfrm>
              <a:off x="7385567" y="3518894"/>
              <a:ext cx="1461808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Summarization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model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06" name="TextBox 638">
              <a:extLst>
                <a:ext uri="{FF2B5EF4-FFF2-40B4-BE49-F238E27FC236}">
                  <a16:creationId xmlns:a16="http://schemas.microsoft.com/office/drawing/2014/main" id="{70683911-71C3-4BF7-8EE7-6097DC5BD13C}"/>
                </a:ext>
              </a:extLst>
            </p:cNvPr>
            <p:cNvSpPr txBox="1"/>
            <p:nvPr/>
          </p:nvSpPr>
          <p:spPr>
            <a:xfrm>
              <a:off x="7361282" y="4111278"/>
              <a:ext cx="1461808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Answer finding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model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327" name="Rectangle">
            <a:extLst>
              <a:ext uri="{FF2B5EF4-FFF2-40B4-BE49-F238E27FC236}">
                <a16:creationId xmlns:a16="http://schemas.microsoft.com/office/drawing/2014/main" id="{68205A44-1B13-3B81-F94D-5A586FCD7D73}"/>
              </a:ext>
            </a:extLst>
          </p:cNvPr>
          <p:cNvSpPr/>
          <p:nvPr/>
        </p:nvSpPr>
        <p:spPr>
          <a:xfrm>
            <a:off x="-46301" y="1245420"/>
            <a:ext cx="12310844" cy="2352577"/>
          </a:xfrm>
          <a:prstGeom prst="rect">
            <a:avLst/>
          </a:prstGeom>
          <a:solidFill>
            <a:srgbClr val="33B1FF">
              <a:alpha val="9823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4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207" name="Group">
            <a:extLst>
              <a:ext uri="{FF2B5EF4-FFF2-40B4-BE49-F238E27FC236}">
                <a16:creationId xmlns:a16="http://schemas.microsoft.com/office/drawing/2014/main" id="{BC8B6CFF-EBDC-CC47-401C-ABD285F7ED2A}"/>
              </a:ext>
            </a:extLst>
          </p:cNvPr>
          <p:cNvGrpSpPr/>
          <p:nvPr/>
        </p:nvGrpSpPr>
        <p:grpSpPr>
          <a:xfrm>
            <a:off x="2622591" y="4601861"/>
            <a:ext cx="1605912" cy="716583"/>
            <a:chOff x="0" y="0"/>
            <a:chExt cx="3211821" cy="1433162"/>
          </a:xfrm>
        </p:grpSpPr>
        <p:sp>
          <p:nvSpPr>
            <p:cNvPr id="208" name="Rectangle">
              <a:extLst>
                <a:ext uri="{FF2B5EF4-FFF2-40B4-BE49-F238E27FC236}">
                  <a16:creationId xmlns:a16="http://schemas.microsoft.com/office/drawing/2014/main" id="{FDA67714-5699-521D-22F0-0BEFFCAC4525}"/>
                </a:ext>
              </a:extLst>
            </p:cNvPr>
            <p:cNvSpPr/>
            <p:nvPr/>
          </p:nvSpPr>
          <p:spPr>
            <a:xfrm>
              <a:off x="0" y="0"/>
              <a:ext cx="3211822" cy="143316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marL="0" marR="0" lvl="0" indent="0" algn="l" defTabSz="412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09" name="Straight Connector 523">
              <a:extLst>
                <a:ext uri="{FF2B5EF4-FFF2-40B4-BE49-F238E27FC236}">
                  <a16:creationId xmlns:a16="http://schemas.microsoft.com/office/drawing/2014/main" id="{7F4494C2-0099-191E-9A4C-3A7A12B33182}"/>
                </a:ext>
              </a:extLst>
            </p:cNvPr>
            <p:cNvSpPr/>
            <p:nvPr/>
          </p:nvSpPr>
          <p:spPr>
            <a:xfrm flipH="1">
              <a:off x="911403" y="510331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0" name="Straight Connector 524">
              <a:extLst>
                <a:ext uri="{FF2B5EF4-FFF2-40B4-BE49-F238E27FC236}">
                  <a16:creationId xmlns:a16="http://schemas.microsoft.com/office/drawing/2014/main" id="{334C1956-F3A6-3953-F7FC-31BFC11335C8}"/>
                </a:ext>
              </a:extLst>
            </p:cNvPr>
            <p:cNvSpPr/>
            <p:nvPr/>
          </p:nvSpPr>
          <p:spPr>
            <a:xfrm flipH="1" flipV="1">
              <a:off x="195534" y="51033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1" name="Straight Connector 540">
              <a:extLst>
                <a:ext uri="{FF2B5EF4-FFF2-40B4-BE49-F238E27FC236}">
                  <a16:creationId xmlns:a16="http://schemas.microsoft.com/office/drawing/2014/main" id="{DB19C22B-CDA3-E0CA-206B-872CD2421138}"/>
                </a:ext>
              </a:extLst>
            </p:cNvPr>
            <p:cNvSpPr/>
            <p:nvPr/>
          </p:nvSpPr>
          <p:spPr>
            <a:xfrm flipH="1">
              <a:off x="912992" y="883543"/>
              <a:ext cx="28728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2" name="Straight Connector 541">
              <a:extLst>
                <a:ext uri="{FF2B5EF4-FFF2-40B4-BE49-F238E27FC236}">
                  <a16:creationId xmlns:a16="http://schemas.microsoft.com/office/drawing/2014/main" id="{3C2A93C2-9BEA-7464-22EA-419627551CFC}"/>
                </a:ext>
              </a:extLst>
            </p:cNvPr>
            <p:cNvSpPr/>
            <p:nvPr/>
          </p:nvSpPr>
          <p:spPr>
            <a:xfrm flipH="1">
              <a:off x="195534" y="883543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3" name="Straight Connector 553">
              <a:extLst>
                <a:ext uri="{FF2B5EF4-FFF2-40B4-BE49-F238E27FC236}">
                  <a16:creationId xmlns:a16="http://schemas.microsoft.com/office/drawing/2014/main" id="{177E51B8-99DD-19A3-EB8C-CEA21B98361F}"/>
                </a:ext>
              </a:extLst>
            </p:cNvPr>
            <p:cNvSpPr/>
            <p:nvPr/>
          </p:nvSpPr>
          <p:spPr>
            <a:xfrm flipH="1">
              <a:off x="909699" y="1257756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4" name="Straight Connector 554">
              <a:extLst>
                <a:ext uri="{FF2B5EF4-FFF2-40B4-BE49-F238E27FC236}">
                  <a16:creationId xmlns:a16="http://schemas.microsoft.com/office/drawing/2014/main" id="{0A06B2A9-157B-F254-CC6E-56E8A7919ECB}"/>
                </a:ext>
              </a:extLst>
            </p:cNvPr>
            <p:cNvSpPr/>
            <p:nvPr/>
          </p:nvSpPr>
          <p:spPr>
            <a:xfrm flipH="1">
              <a:off x="195534" y="1256755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5" name="Straight Connector 565">
              <a:extLst>
                <a:ext uri="{FF2B5EF4-FFF2-40B4-BE49-F238E27FC236}">
                  <a16:creationId xmlns:a16="http://schemas.microsoft.com/office/drawing/2014/main" id="{B9F6C2A7-B80A-F22C-C630-D2EFE58C55E3}"/>
                </a:ext>
              </a:extLst>
            </p:cNvPr>
            <p:cNvSpPr/>
            <p:nvPr/>
          </p:nvSpPr>
          <p:spPr>
            <a:xfrm flipV="1">
              <a:off x="912992" y="137082"/>
              <a:ext cx="285565" cy="74941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6" name="Straight Connector 566">
              <a:extLst>
                <a:ext uri="{FF2B5EF4-FFF2-40B4-BE49-F238E27FC236}">
                  <a16:creationId xmlns:a16="http://schemas.microsoft.com/office/drawing/2014/main" id="{1CF3CB01-6B48-7AED-6365-87125BAB5146}"/>
                </a:ext>
              </a:extLst>
            </p:cNvPr>
            <p:cNvSpPr/>
            <p:nvPr/>
          </p:nvSpPr>
          <p:spPr>
            <a:xfrm flipV="1">
              <a:off x="914615" y="511635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7" name="Straight Connector 567">
              <a:extLst>
                <a:ext uri="{FF2B5EF4-FFF2-40B4-BE49-F238E27FC236}">
                  <a16:creationId xmlns:a16="http://schemas.microsoft.com/office/drawing/2014/main" id="{B5054198-677B-AA65-7C9C-C2ED2CA5F02B}"/>
                </a:ext>
              </a:extLst>
            </p:cNvPr>
            <p:cNvSpPr/>
            <p:nvPr/>
          </p:nvSpPr>
          <p:spPr>
            <a:xfrm flipV="1">
              <a:off x="199232" y="138575"/>
              <a:ext cx="627988" cy="37005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8" name="Straight Connector 568">
              <a:extLst>
                <a:ext uri="{FF2B5EF4-FFF2-40B4-BE49-F238E27FC236}">
                  <a16:creationId xmlns:a16="http://schemas.microsoft.com/office/drawing/2014/main" id="{105E8EE9-08EC-276B-BAD9-D9EF5BDA8566}"/>
                </a:ext>
              </a:extLst>
            </p:cNvPr>
            <p:cNvSpPr/>
            <p:nvPr/>
          </p:nvSpPr>
          <p:spPr>
            <a:xfrm flipV="1">
              <a:off x="195534" y="13711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9" name="Straight Connector 569">
              <a:extLst>
                <a:ext uri="{FF2B5EF4-FFF2-40B4-BE49-F238E27FC236}">
                  <a16:creationId xmlns:a16="http://schemas.microsoft.com/office/drawing/2014/main" id="{A8F65278-88F4-F088-1CCB-1DF65131379C}"/>
                </a:ext>
              </a:extLst>
            </p:cNvPr>
            <p:cNvSpPr/>
            <p:nvPr/>
          </p:nvSpPr>
          <p:spPr>
            <a:xfrm flipV="1">
              <a:off x="195535" y="510292"/>
              <a:ext cx="631684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0" name="Straight Connector 570">
              <a:extLst>
                <a:ext uri="{FF2B5EF4-FFF2-40B4-BE49-F238E27FC236}">
                  <a16:creationId xmlns:a16="http://schemas.microsoft.com/office/drawing/2014/main" id="{DF9EA81A-5A35-9EF2-4D1D-958181D099B1}"/>
                </a:ext>
              </a:extLst>
            </p:cNvPr>
            <p:cNvSpPr/>
            <p:nvPr/>
          </p:nvSpPr>
          <p:spPr>
            <a:xfrm flipV="1">
              <a:off x="195534" y="883543"/>
              <a:ext cx="631685" cy="37420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1" name="Straight Connector 571">
              <a:extLst>
                <a:ext uri="{FF2B5EF4-FFF2-40B4-BE49-F238E27FC236}">
                  <a16:creationId xmlns:a16="http://schemas.microsoft.com/office/drawing/2014/main" id="{CC6E0006-9C80-41AF-FEEE-F9F03BAF444E}"/>
                </a:ext>
              </a:extLst>
            </p:cNvPr>
            <p:cNvSpPr/>
            <p:nvPr/>
          </p:nvSpPr>
          <p:spPr>
            <a:xfrm flipV="1">
              <a:off x="195534" y="510332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2" name="Straight Connector 572">
              <a:extLst>
                <a:ext uri="{FF2B5EF4-FFF2-40B4-BE49-F238E27FC236}">
                  <a16:creationId xmlns:a16="http://schemas.microsoft.com/office/drawing/2014/main" id="{AFE57004-A7FA-E8B2-9823-FCA71F2BBC84}"/>
                </a:ext>
              </a:extLst>
            </p:cNvPr>
            <p:cNvSpPr/>
            <p:nvPr/>
          </p:nvSpPr>
          <p:spPr>
            <a:xfrm flipV="1">
              <a:off x="195534" y="137080"/>
              <a:ext cx="631686" cy="112101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3" name="Straight Connector 577">
              <a:extLst>
                <a:ext uri="{FF2B5EF4-FFF2-40B4-BE49-F238E27FC236}">
                  <a16:creationId xmlns:a16="http://schemas.microsoft.com/office/drawing/2014/main" id="{73337165-B3A6-2E06-4C93-B5C812CB78C1}"/>
                </a:ext>
              </a:extLst>
            </p:cNvPr>
            <p:cNvSpPr/>
            <p:nvPr/>
          </p:nvSpPr>
          <p:spPr>
            <a:xfrm flipH="1" flipV="1">
              <a:off x="198183" y="13655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4" name="Straight Connector 578">
              <a:extLst>
                <a:ext uri="{FF2B5EF4-FFF2-40B4-BE49-F238E27FC236}">
                  <a16:creationId xmlns:a16="http://schemas.microsoft.com/office/drawing/2014/main" id="{8C14F141-2670-DFB6-8868-F66DD71AC739}"/>
                </a:ext>
              </a:extLst>
            </p:cNvPr>
            <p:cNvSpPr/>
            <p:nvPr/>
          </p:nvSpPr>
          <p:spPr>
            <a:xfrm>
              <a:off x="198183" y="139306"/>
              <a:ext cx="630085" cy="7449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5" name="Straight Connector 579">
              <a:extLst>
                <a:ext uri="{FF2B5EF4-FFF2-40B4-BE49-F238E27FC236}">
                  <a16:creationId xmlns:a16="http://schemas.microsoft.com/office/drawing/2014/main" id="{C3E80962-E163-3D44-038D-322B49FE355C}"/>
                </a:ext>
              </a:extLst>
            </p:cNvPr>
            <p:cNvSpPr/>
            <p:nvPr/>
          </p:nvSpPr>
          <p:spPr>
            <a:xfrm>
              <a:off x="198183" y="136558"/>
              <a:ext cx="630085" cy="11207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6" name="Straight Connector 580">
              <a:extLst>
                <a:ext uri="{FF2B5EF4-FFF2-40B4-BE49-F238E27FC236}">
                  <a16:creationId xmlns:a16="http://schemas.microsoft.com/office/drawing/2014/main" id="{A42023E2-8B58-BC30-FB98-AB6B938CB382}"/>
                </a:ext>
              </a:extLst>
            </p:cNvPr>
            <p:cNvSpPr/>
            <p:nvPr/>
          </p:nvSpPr>
          <p:spPr>
            <a:xfrm flipH="1" flipV="1">
              <a:off x="196500" y="51098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7" name="Straight Connector 581">
              <a:extLst>
                <a:ext uri="{FF2B5EF4-FFF2-40B4-BE49-F238E27FC236}">
                  <a16:creationId xmlns:a16="http://schemas.microsoft.com/office/drawing/2014/main" id="{AC1034C8-5D1F-C112-D864-090E787FA424}"/>
                </a:ext>
              </a:extLst>
            </p:cNvPr>
            <p:cNvSpPr/>
            <p:nvPr/>
          </p:nvSpPr>
          <p:spPr>
            <a:xfrm flipH="1" flipV="1">
              <a:off x="195535" y="88354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8" name="Straight Connector 582">
              <a:extLst>
                <a:ext uri="{FF2B5EF4-FFF2-40B4-BE49-F238E27FC236}">
                  <a16:creationId xmlns:a16="http://schemas.microsoft.com/office/drawing/2014/main" id="{77C058E8-3390-B2F4-8CB4-8A2944BF48D5}"/>
                </a:ext>
              </a:extLst>
            </p:cNvPr>
            <p:cNvSpPr/>
            <p:nvPr/>
          </p:nvSpPr>
          <p:spPr>
            <a:xfrm flipH="1" flipV="1">
              <a:off x="196938" y="50927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9" name="Straight Connector 583">
              <a:extLst>
                <a:ext uri="{FF2B5EF4-FFF2-40B4-BE49-F238E27FC236}">
                  <a16:creationId xmlns:a16="http://schemas.microsoft.com/office/drawing/2014/main" id="{2919FC47-DD01-5185-37B3-FA0F4ABBB95F}"/>
                </a:ext>
              </a:extLst>
            </p:cNvPr>
            <p:cNvSpPr/>
            <p:nvPr/>
          </p:nvSpPr>
          <p:spPr>
            <a:xfrm flipV="1">
              <a:off x="914616" y="137486"/>
              <a:ext cx="281947" cy="37244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0" name="Straight Connector 584">
              <a:extLst>
                <a:ext uri="{FF2B5EF4-FFF2-40B4-BE49-F238E27FC236}">
                  <a16:creationId xmlns:a16="http://schemas.microsoft.com/office/drawing/2014/main" id="{63A2F566-6E39-B3AF-9E0C-B7F5E9640A36}"/>
                </a:ext>
              </a:extLst>
            </p:cNvPr>
            <p:cNvSpPr/>
            <p:nvPr/>
          </p:nvSpPr>
          <p:spPr>
            <a:xfrm flipV="1">
              <a:off x="912992" y="137082"/>
              <a:ext cx="287280" cy="111967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1" name="Straight Connector 585">
              <a:extLst>
                <a:ext uri="{FF2B5EF4-FFF2-40B4-BE49-F238E27FC236}">
                  <a16:creationId xmlns:a16="http://schemas.microsoft.com/office/drawing/2014/main" id="{E1F1E88D-B5E0-E7F4-B051-CD9A5F179337}"/>
                </a:ext>
              </a:extLst>
            </p:cNvPr>
            <p:cNvSpPr/>
            <p:nvPr/>
          </p:nvSpPr>
          <p:spPr>
            <a:xfrm>
              <a:off x="914513" y="138575"/>
              <a:ext cx="280828" cy="3702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2" name="Straight Connector 586">
              <a:extLst>
                <a:ext uri="{FF2B5EF4-FFF2-40B4-BE49-F238E27FC236}">
                  <a16:creationId xmlns:a16="http://schemas.microsoft.com/office/drawing/2014/main" id="{43D275A5-FA5E-9486-64DD-44AF0E168CB8}"/>
                </a:ext>
              </a:extLst>
            </p:cNvPr>
            <p:cNvSpPr/>
            <p:nvPr/>
          </p:nvSpPr>
          <p:spPr>
            <a:xfrm flipV="1">
              <a:off x="912992" y="510697"/>
              <a:ext cx="281640" cy="37244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3" name="Straight Connector 587">
              <a:extLst>
                <a:ext uri="{FF2B5EF4-FFF2-40B4-BE49-F238E27FC236}">
                  <a16:creationId xmlns:a16="http://schemas.microsoft.com/office/drawing/2014/main" id="{FD2BA304-1F35-25F6-82F3-89553862E1A6}"/>
                </a:ext>
              </a:extLst>
            </p:cNvPr>
            <p:cNvSpPr/>
            <p:nvPr/>
          </p:nvSpPr>
          <p:spPr>
            <a:xfrm>
              <a:off x="914613" y="137120"/>
              <a:ext cx="281823" cy="7465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4" name="Straight Connector 588">
              <a:extLst>
                <a:ext uri="{FF2B5EF4-FFF2-40B4-BE49-F238E27FC236}">
                  <a16:creationId xmlns:a16="http://schemas.microsoft.com/office/drawing/2014/main" id="{D2CCC0F5-40EF-7600-39AE-9B60BC9BA0F7}"/>
                </a:ext>
              </a:extLst>
            </p:cNvPr>
            <p:cNvSpPr/>
            <p:nvPr/>
          </p:nvSpPr>
          <p:spPr>
            <a:xfrm>
              <a:off x="914637" y="133406"/>
              <a:ext cx="281767" cy="112492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5" name="Straight Connector 589">
              <a:extLst>
                <a:ext uri="{FF2B5EF4-FFF2-40B4-BE49-F238E27FC236}">
                  <a16:creationId xmlns:a16="http://schemas.microsoft.com/office/drawing/2014/main" id="{287C4AB1-7814-4574-15B3-314A6DA0FF8E}"/>
                </a:ext>
              </a:extLst>
            </p:cNvPr>
            <p:cNvSpPr/>
            <p:nvPr/>
          </p:nvSpPr>
          <p:spPr>
            <a:xfrm>
              <a:off x="913698" y="510292"/>
              <a:ext cx="281642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6" name="Straight Connector 590">
              <a:extLst>
                <a:ext uri="{FF2B5EF4-FFF2-40B4-BE49-F238E27FC236}">
                  <a16:creationId xmlns:a16="http://schemas.microsoft.com/office/drawing/2014/main" id="{A1604AFA-A6B2-D5FC-6F2D-C96EC5BA537F}"/>
                </a:ext>
              </a:extLst>
            </p:cNvPr>
            <p:cNvSpPr/>
            <p:nvPr/>
          </p:nvSpPr>
          <p:spPr>
            <a:xfrm>
              <a:off x="912952" y="509024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7" name="Straight Connector 591">
              <a:extLst>
                <a:ext uri="{FF2B5EF4-FFF2-40B4-BE49-F238E27FC236}">
                  <a16:creationId xmlns:a16="http://schemas.microsoft.com/office/drawing/2014/main" id="{AA9B71C1-0A48-AA96-D154-371D0D879C0E}"/>
                </a:ext>
              </a:extLst>
            </p:cNvPr>
            <p:cNvSpPr/>
            <p:nvPr/>
          </p:nvSpPr>
          <p:spPr>
            <a:xfrm>
              <a:off x="914461" y="884193"/>
              <a:ext cx="282099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8" name="Straight Connector 592">
              <a:extLst>
                <a:ext uri="{FF2B5EF4-FFF2-40B4-BE49-F238E27FC236}">
                  <a16:creationId xmlns:a16="http://schemas.microsoft.com/office/drawing/2014/main" id="{36E1BF33-85E0-05E6-8671-324A5AF6A5A3}"/>
                </a:ext>
              </a:extLst>
            </p:cNvPr>
            <p:cNvSpPr/>
            <p:nvPr/>
          </p:nvSpPr>
          <p:spPr>
            <a:xfrm flipH="1">
              <a:off x="910170" y="882304"/>
              <a:ext cx="286395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9" name="Straight Connector 524">
              <a:extLst>
                <a:ext uri="{FF2B5EF4-FFF2-40B4-BE49-F238E27FC236}">
                  <a16:creationId xmlns:a16="http://schemas.microsoft.com/office/drawing/2014/main" id="{D4EEC315-1EB0-A043-7D7E-12BCE38E47B1}"/>
                </a:ext>
              </a:extLst>
            </p:cNvPr>
            <p:cNvSpPr/>
            <p:nvPr/>
          </p:nvSpPr>
          <p:spPr>
            <a:xfrm flipH="1" flipV="1">
              <a:off x="1660941" y="51008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0" name="Straight Connector 541">
              <a:extLst>
                <a:ext uri="{FF2B5EF4-FFF2-40B4-BE49-F238E27FC236}">
                  <a16:creationId xmlns:a16="http://schemas.microsoft.com/office/drawing/2014/main" id="{7D5C1BCC-C9C1-2618-3C5C-CA80ACEF1CFB}"/>
                </a:ext>
              </a:extLst>
            </p:cNvPr>
            <p:cNvSpPr/>
            <p:nvPr/>
          </p:nvSpPr>
          <p:spPr>
            <a:xfrm flipH="1">
              <a:off x="1660941" y="883292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1" name="Straight Connector 554">
              <a:extLst>
                <a:ext uri="{FF2B5EF4-FFF2-40B4-BE49-F238E27FC236}">
                  <a16:creationId xmlns:a16="http://schemas.microsoft.com/office/drawing/2014/main" id="{809B824F-3D79-392A-5D82-37AF56968FED}"/>
                </a:ext>
              </a:extLst>
            </p:cNvPr>
            <p:cNvSpPr/>
            <p:nvPr/>
          </p:nvSpPr>
          <p:spPr>
            <a:xfrm flipH="1">
              <a:off x="1660941" y="1256504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2" name="Straight Connector 567">
              <a:extLst>
                <a:ext uri="{FF2B5EF4-FFF2-40B4-BE49-F238E27FC236}">
                  <a16:creationId xmlns:a16="http://schemas.microsoft.com/office/drawing/2014/main" id="{1B79B8B4-F116-A03D-C9EC-B95E3242208B}"/>
                </a:ext>
              </a:extLst>
            </p:cNvPr>
            <p:cNvSpPr/>
            <p:nvPr/>
          </p:nvSpPr>
          <p:spPr>
            <a:xfrm flipV="1">
              <a:off x="1664639" y="138324"/>
              <a:ext cx="627988" cy="37005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3" name="Straight Connector 568">
              <a:extLst>
                <a:ext uri="{FF2B5EF4-FFF2-40B4-BE49-F238E27FC236}">
                  <a16:creationId xmlns:a16="http://schemas.microsoft.com/office/drawing/2014/main" id="{134B460E-210B-9E12-F6B7-73230C5B3C63}"/>
                </a:ext>
              </a:extLst>
            </p:cNvPr>
            <p:cNvSpPr/>
            <p:nvPr/>
          </p:nvSpPr>
          <p:spPr>
            <a:xfrm flipV="1">
              <a:off x="1660941" y="13686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4" name="Straight Connector 569">
              <a:extLst>
                <a:ext uri="{FF2B5EF4-FFF2-40B4-BE49-F238E27FC236}">
                  <a16:creationId xmlns:a16="http://schemas.microsoft.com/office/drawing/2014/main" id="{88489E21-09DC-C045-805F-06CC58AEFBD2}"/>
                </a:ext>
              </a:extLst>
            </p:cNvPr>
            <p:cNvSpPr/>
            <p:nvPr/>
          </p:nvSpPr>
          <p:spPr>
            <a:xfrm flipV="1">
              <a:off x="1660941" y="510041"/>
              <a:ext cx="631685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5" name="Straight Connector 570">
              <a:extLst>
                <a:ext uri="{FF2B5EF4-FFF2-40B4-BE49-F238E27FC236}">
                  <a16:creationId xmlns:a16="http://schemas.microsoft.com/office/drawing/2014/main" id="{418F7D0C-C469-A844-CD3A-E856DDE4FE5F}"/>
                </a:ext>
              </a:extLst>
            </p:cNvPr>
            <p:cNvSpPr/>
            <p:nvPr/>
          </p:nvSpPr>
          <p:spPr>
            <a:xfrm flipV="1">
              <a:off x="1660941" y="883292"/>
              <a:ext cx="631685" cy="37421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6" name="Straight Connector 571">
              <a:extLst>
                <a:ext uri="{FF2B5EF4-FFF2-40B4-BE49-F238E27FC236}">
                  <a16:creationId xmlns:a16="http://schemas.microsoft.com/office/drawing/2014/main" id="{1BEE0A43-39D9-5234-B6A6-14F03BB9694B}"/>
                </a:ext>
              </a:extLst>
            </p:cNvPr>
            <p:cNvSpPr/>
            <p:nvPr/>
          </p:nvSpPr>
          <p:spPr>
            <a:xfrm flipV="1">
              <a:off x="1660941" y="510081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7" name="Straight Connector 572">
              <a:extLst>
                <a:ext uri="{FF2B5EF4-FFF2-40B4-BE49-F238E27FC236}">
                  <a16:creationId xmlns:a16="http://schemas.microsoft.com/office/drawing/2014/main" id="{C83D2109-1BA6-E85B-DACD-0540BEBD68E8}"/>
                </a:ext>
              </a:extLst>
            </p:cNvPr>
            <p:cNvSpPr/>
            <p:nvPr/>
          </p:nvSpPr>
          <p:spPr>
            <a:xfrm flipV="1">
              <a:off x="1660941" y="136829"/>
              <a:ext cx="631686" cy="11210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8" name="Straight Connector 577">
              <a:extLst>
                <a:ext uri="{FF2B5EF4-FFF2-40B4-BE49-F238E27FC236}">
                  <a16:creationId xmlns:a16="http://schemas.microsoft.com/office/drawing/2014/main" id="{A8970F49-EBE7-B8DF-8090-3621CF4B5FAD}"/>
                </a:ext>
              </a:extLst>
            </p:cNvPr>
            <p:cNvSpPr/>
            <p:nvPr/>
          </p:nvSpPr>
          <p:spPr>
            <a:xfrm flipH="1" flipV="1">
              <a:off x="1663590" y="13630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9" name="Straight Connector 578">
              <a:extLst>
                <a:ext uri="{FF2B5EF4-FFF2-40B4-BE49-F238E27FC236}">
                  <a16:creationId xmlns:a16="http://schemas.microsoft.com/office/drawing/2014/main" id="{4B9307A8-2D41-14ED-48F5-59A18C19C3A2}"/>
                </a:ext>
              </a:extLst>
            </p:cNvPr>
            <p:cNvSpPr/>
            <p:nvPr/>
          </p:nvSpPr>
          <p:spPr>
            <a:xfrm>
              <a:off x="1663590" y="139056"/>
              <a:ext cx="630085" cy="7449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0" name="Straight Connector 579">
              <a:extLst>
                <a:ext uri="{FF2B5EF4-FFF2-40B4-BE49-F238E27FC236}">
                  <a16:creationId xmlns:a16="http://schemas.microsoft.com/office/drawing/2014/main" id="{AC34D4FE-8FE3-82DB-7E66-001CC1B3AF4E}"/>
                </a:ext>
              </a:extLst>
            </p:cNvPr>
            <p:cNvSpPr/>
            <p:nvPr/>
          </p:nvSpPr>
          <p:spPr>
            <a:xfrm>
              <a:off x="1663590" y="136307"/>
              <a:ext cx="630085" cy="11207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1" name="Straight Connector 580">
              <a:extLst>
                <a:ext uri="{FF2B5EF4-FFF2-40B4-BE49-F238E27FC236}">
                  <a16:creationId xmlns:a16="http://schemas.microsoft.com/office/drawing/2014/main" id="{4B8CC253-1B09-354E-314B-ACFEA7BEFAF7}"/>
                </a:ext>
              </a:extLst>
            </p:cNvPr>
            <p:cNvSpPr/>
            <p:nvPr/>
          </p:nvSpPr>
          <p:spPr>
            <a:xfrm flipH="1" flipV="1">
              <a:off x="1661907" y="51073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2" name="Straight Connector 581">
              <a:extLst>
                <a:ext uri="{FF2B5EF4-FFF2-40B4-BE49-F238E27FC236}">
                  <a16:creationId xmlns:a16="http://schemas.microsoft.com/office/drawing/2014/main" id="{1C8D3537-A754-4452-C6E1-E6D3C9DFF798}"/>
                </a:ext>
              </a:extLst>
            </p:cNvPr>
            <p:cNvSpPr/>
            <p:nvPr/>
          </p:nvSpPr>
          <p:spPr>
            <a:xfrm flipH="1" flipV="1">
              <a:off x="1660942" y="88329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3" name="Straight Connector 582">
              <a:extLst>
                <a:ext uri="{FF2B5EF4-FFF2-40B4-BE49-F238E27FC236}">
                  <a16:creationId xmlns:a16="http://schemas.microsoft.com/office/drawing/2014/main" id="{67BF1AD2-9B8C-3F80-2D71-735B3238F427}"/>
                </a:ext>
              </a:extLst>
            </p:cNvPr>
            <p:cNvSpPr/>
            <p:nvPr/>
          </p:nvSpPr>
          <p:spPr>
            <a:xfrm flipH="1" flipV="1">
              <a:off x="1662344" y="50902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4" name="Straight Connector 523">
              <a:extLst>
                <a:ext uri="{FF2B5EF4-FFF2-40B4-BE49-F238E27FC236}">
                  <a16:creationId xmlns:a16="http://schemas.microsoft.com/office/drawing/2014/main" id="{E1EF8C24-6334-F545-E823-3E779CBAD724}"/>
                </a:ext>
              </a:extLst>
            </p:cNvPr>
            <p:cNvSpPr/>
            <p:nvPr/>
          </p:nvSpPr>
          <p:spPr>
            <a:xfrm flipH="1">
              <a:off x="128330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5" name="Straight Connector 540">
              <a:extLst>
                <a:ext uri="{FF2B5EF4-FFF2-40B4-BE49-F238E27FC236}">
                  <a16:creationId xmlns:a16="http://schemas.microsoft.com/office/drawing/2014/main" id="{6284E323-2BE1-4724-AE13-BF616D6B42B2}"/>
                </a:ext>
              </a:extLst>
            </p:cNvPr>
            <p:cNvSpPr/>
            <p:nvPr/>
          </p:nvSpPr>
          <p:spPr>
            <a:xfrm flipH="1">
              <a:off x="128489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6" name="Straight Connector 553">
              <a:extLst>
                <a:ext uri="{FF2B5EF4-FFF2-40B4-BE49-F238E27FC236}">
                  <a16:creationId xmlns:a16="http://schemas.microsoft.com/office/drawing/2014/main" id="{E3AA2202-3CD2-1F8F-CCB9-753F9D6A56D1}"/>
                </a:ext>
              </a:extLst>
            </p:cNvPr>
            <p:cNvSpPr/>
            <p:nvPr/>
          </p:nvSpPr>
          <p:spPr>
            <a:xfrm flipH="1">
              <a:off x="128160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7" name="Straight Connector 565">
              <a:extLst>
                <a:ext uri="{FF2B5EF4-FFF2-40B4-BE49-F238E27FC236}">
                  <a16:creationId xmlns:a16="http://schemas.microsoft.com/office/drawing/2014/main" id="{3B0FBC35-E376-06B8-97DF-A9EA6CB26C8B}"/>
                </a:ext>
              </a:extLst>
            </p:cNvPr>
            <p:cNvSpPr/>
            <p:nvPr/>
          </p:nvSpPr>
          <p:spPr>
            <a:xfrm flipV="1">
              <a:off x="128489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8" name="Straight Connector 566">
              <a:extLst>
                <a:ext uri="{FF2B5EF4-FFF2-40B4-BE49-F238E27FC236}">
                  <a16:creationId xmlns:a16="http://schemas.microsoft.com/office/drawing/2014/main" id="{B300A15A-3B58-D850-1E09-3F9DE1F0469E}"/>
                </a:ext>
              </a:extLst>
            </p:cNvPr>
            <p:cNvSpPr/>
            <p:nvPr/>
          </p:nvSpPr>
          <p:spPr>
            <a:xfrm flipV="1">
              <a:off x="1286521" y="511509"/>
              <a:ext cx="281820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9" name="Straight Connector 583">
              <a:extLst>
                <a:ext uri="{FF2B5EF4-FFF2-40B4-BE49-F238E27FC236}">
                  <a16:creationId xmlns:a16="http://schemas.microsoft.com/office/drawing/2014/main" id="{D7C62921-DCEB-5A78-16A1-4E44B659D146}"/>
                </a:ext>
              </a:extLst>
            </p:cNvPr>
            <p:cNvSpPr/>
            <p:nvPr/>
          </p:nvSpPr>
          <p:spPr>
            <a:xfrm flipV="1">
              <a:off x="1286521" y="137359"/>
              <a:ext cx="281948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0" name="Straight Connector 584">
              <a:extLst>
                <a:ext uri="{FF2B5EF4-FFF2-40B4-BE49-F238E27FC236}">
                  <a16:creationId xmlns:a16="http://schemas.microsoft.com/office/drawing/2014/main" id="{A81D4141-1B78-7D41-D6CF-D7FB9F249197}"/>
                </a:ext>
              </a:extLst>
            </p:cNvPr>
            <p:cNvSpPr/>
            <p:nvPr/>
          </p:nvSpPr>
          <p:spPr>
            <a:xfrm flipV="1">
              <a:off x="128489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1" name="Straight Connector 585">
              <a:extLst>
                <a:ext uri="{FF2B5EF4-FFF2-40B4-BE49-F238E27FC236}">
                  <a16:creationId xmlns:a16="http://schemas.microsoft.com/office/drawing/2014/main" id="{C9452D0F-EB63-0E6B-5E8E-0CD04E0A2F8E}"/>
                </a:ext>
              </a:extLst>
            </p:cNvPr>
            <p:cNvSpPr/>
            <p:nvPr/>
          </p:nvSpPr>
          <p:spPr>
            <a:xfrm>
              <a:off x="128641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2" name="Straight Connector 586">
              <a:extLst>
                <a:ext uri="{FF2B5EF4-FFF2-40B4-BE49-F238E27FC236}">
                  <a16:creationId xmlns:a16="http://schemas.microsoft.com/office/drawing/2014/main" id="{D76DF7D8-76B0-E627-A73B-34F987862BE3}"/>
                </a:ext>
              </a:extLst>
            </p:cNvPr>
            <p:cNvSpPr/>
            <p:nvPr/>
          </p:nvSpPr>
          <p:spPr>
            <a:xfrm flipV="1">
              <a:off x="1284898" y="510570"/>
              <a:ext cx="281639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3" name="Straight Connector 587">
              <a:extLst>
                <a:ext uri="{FF2B5EF4-FFF2-40B4-BE49-F238E27FC236}">
                  <a16:creationId xmlns:a16="http://schemas.microsoft.com/office/drawing/2014/main" id="{17244531-246D-FC04-DF9D-5049C093168A}"/>
                </a:ext>
              </a:extLst>
            </p:cNvPr>
            <p:cNvSpPr/>
            <p:nvPr/>
          </p:nvSpPr>
          <p:spPr>
            <a:xfrm>
              <a:off x="128651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4" name="Straight Connector 588">
              <a:extLst>
                <a:ext uri="{FF2B5EF4-FFF2-40B4-BE49-F238E27FC236}">
                  <a16:creationId xmlns:a16="http://schemas.microsoft.com/office/drawing/2014/main" id="{3D855B5E-A98D-77CA-5985-6F1D1C3B68D7}"/>
                </a:ext>
              </a:extLst>
            </p:cNvPr>
            <p:cNvSpPr/>
            <p:nvPr/>
          </p:nvSpPr>
          <p:spPr>
            <a:xfrm>
              <a:off x="1286543" y="133280"/>
              <a:ext cx="281767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5" name="Straight Connector 589">
              <a:extLst>
                <a:ext uri="{FF2B5EF4-FFF2-40B4-BE49-F238E27FC236}">
                  <a16:creationId xmlns:a16="http://schemas.microsoft.com/office/drawing/2014/main" id="{4CFECDFF-3CAE-6719-8893-3E7009ED6B67}"/>
                </a:ext>
              </a:extLst>
            </p:cNvPr>
            <p:cNvSpPr/>
            <p:nvPr/>
          </p:nvSpPr>
          <p:spPr>
            <a:xfrm>
              <a:off x="128560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6" name="Straight Connector 590">
              <a:extLst>
                <a:ext uri="{FF2B5EF4-FFF2-40B4-BE49-F238E27FC236}">
                  <a16:creationId xmlns:a16="http://schemas.microsoft.com/office/drawing/2014/main" id="{8F4CAECC-8C62-1712-E356-9918B94BEA6E}"/>
                </a:ext>
              </a:extLst>
            </p:cNvPr>
            <p:cNvSpPr/>
            <p:nvPr/>
          </p:nvSpPr>
          <p:spPr>
            <a:xfrm>
              <a:off x="1284858" y="508897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7" name="Straight Connector 591">
              <a:extLst>
                <a:ext uri="{FF2B5EF4-FFF2-40B4-BE49-F238E27FC236}">
                  <a16:creationId xmlns:a16="http://schemas.microsoft.com/office/drawing/2014/main" id="{AC8417F1-E984-5138-571B-A694E4647C75}"/>
                </a:ext>
              </a:extLst>
            </p:cNvPr>
            <p:cNvSpPr/>
            <p:nvPr/>
          </p:nvSpPr>
          <p:spPr>
            <a:xfrm>
              <a:off x="128636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8" name="Straight Connector 592">
              <a:extLst>
                <a:ext uri="{FF2B5EF4-FFF2-40B4-BE49-F238E27FC236}">
                  <a16:creationId xmlns:a16="http://schemas.microsoft.com/office/drawing/2014/main" id="{60164040-D36F-5DCC-BD2B-E3F40CFC2736}"/>
                </a:ext>
              </a:extLst>
            </p:cNvPr>
            <p:cNvSpPr/>
            <p:nvPr/>
          </p:nvSpPr>
          <p:spPr>
            <a:xfrm flipH="1">
              <a:off x="128207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9" name="Oval 502">
              <a:extLst>
                <a:ext uri="{FF2B5EF4-FFF2-40B4-BE49-F238E27FC236}">
                  <a16:creationId xmlns:a16="http://schemas.microsoft.com/office/drawing/2014/main" id="{EE69503B-6985-DFE3-1676-0B61D520BEE0}"/>
                </a:ext>
              </a:extLst>
            </p:cNvPr>
            <p:cNvSpPr/>
            <p:nvPr/>
          </p:nvSpPr>
          <p:spPr>
            <a:xfrm flipH="1">
              <a:off x="1561828" y="79336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0" name="Oval 509">
              <a:extLst>
                <a:ext uri="{FF2B5EF4-FFF2-40B4-BE49-F238E27FC236}">
                  <a16:creationId xmlns:a16="http://schemas.microsoft.com/office/drawing/2014/main" id="{C2A8731E-C868-2F36-2EDB-94DFC662FD76}"/>
                </a:ext>
              </a:extLst>
            </p:cNvPr>
            <p:cNvSpPr/>
            <p:nvPr/>
          </p:nvSpPr>
          <p:spPr>
            <a:xfrm flipH="1">
              <a:off x="1492619" y="383803"/>
              <a:ext cx="255973" cy="2559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1" name="Oval 545">
              <a:extLst>
                <a:ext uri="{FF2B5EF4-FFF2-40B4-BE49-F238E27FC236}">
                  <a16:creationId xmlns:a16="http://schemas.microsoft.com/office/drawing/2014/main" id="{BF79DFC6-529C-4642-3AD9-AFE1E95229B5}"/>
                </a:ext>
              </a:extLst>
            </p:cNvPr>
            <p:cNvSpPr/>
            <p:nvPr/>
          </p:nvSpPr>
          <p:spPr>
            <a:xfrm flipH="1">
              <a:off x="1527230" y="1145599"/>
              <a:ext cx="202338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2" name="Oval 532">
              <a:extLst>
                <a:ext uri="{FF2B5EF4-FFF2-40B4-BE49-F238E27FC236}">
                  <a16:creationId xmlns:a16="http://schemas.microsoft.com/office/drawing/2014/main" id="{09E7854B-A5CE-32E6-1916-913C76F465FD}"/>
                </a:ext>
              </a:extLst>
            </p:cNvPr>
            <p:cNvSpPr/>
            <p:nvPr/>
          </p:nvSpPr>
          <p:spPr>
            <a:xfrm flipH="1">
              <a:off x="1549869" y="812807"/>
              <a:ext cx="141473" cy="1414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3" name="Oval 503">
              <a:extLst>
                <a:ext uri="{FF2B5EF4-FFF2-40B4-BE49-F238E27FC236}">
                  <a16:creationId xmlns:a16="http://schemas.microsoft.com/office/drawing/2014/main" id="{3A56FACB-AD20-E75F-961B-47A8A4C220FE}"/>
                </a:ext>
              </a:extLst>
            </p:cNvPr>
            <p:cNvSpPr/>
            <p:nvPr/>
          </p:nvSpPr>
          <p:spPr>
            <a:xfrm flipH="1">
              <a:off x="1156548" y="55690"/>
              <a:ext cx="164847" cy="16484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4" name="Oval 510">
              <a:extLst>
                <a:ext uri="{FF2B5EF4-FFF2-40B4-BE49-F238E27FC236}">
                  <a16:creationId xmlns:a16="http://schemas.microsoft.com/office/drawing/2014/main" id="{B9E5DCA0-A076-0574-A400-A9BD22DE4FCC}"/>
                </a:ext>
              </a:extLst>
            </p:cNvPr>
            <p:cNvSpPr/>
            <p:nvPr/>
          </p:nvSpPr>
          <p:spPr>
            <a:xfrm flipH="1">
              <a:off x="1161012" y="433829"/>
              <a:ext cx="155920" cy="15592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5" name="Oval 533">
              <a:extLst>
                <a:ext uri="{FF2B5EF4-FFF2-40B4-BE49-F238E27FC236}">
                  <a16:creationId xmlns:a16="http://schemas.microsoft.com/office/drawing/2014/main" id="{99D953FB-5E4D-B3FC-9337-FB3175151160}"/>
                </a:ext>
              </a:extLst>
            </p:cNvPr>
            <p:cNvSpPr/>
            <p:nvPr/>
          </p:nvSpPr>
          <p:spPr>
            <a:xfrm flipH="1">
              <a:off x="1135311" y="783444"/>
              <a:ext cx="200198" cy="20019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6" name="Oval 546">
              <a:extLst>
                <a:ext uri="{FF2B5EF4-FFF2-40B4-BE49-F238E27FC236}">
                  <a16:creationId xmlns:a16="http://schemas.microsoft.com/office/drawing/2014/main" id="{5563BCE8-0AD3-3EA5-F46E-7547B38DEB0E}"/>
                </a:ext>
              </a:extLst>
            </p:cNvPr>
            <p:cNvSpPr/>
            <p:nvPr/>
          </p:nvSpPr>
          <p:spPr>
            <a:xfrm flipH="1">
              <a:off x="1180194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7" name="Oval 547">
              <a:extLst>
                <a:ext uri="{FF2B5EF4-FFF2-40B4-BE49-F238E27FC236}">
                  <a16:creationId xmlns:a16="http://schemas.microsoft.com/office/drawing/2014/main" id="{F0ED9D8A-627B-BA61-C25F-0935966AC44B}"/>
                </a:ext>
              </a:extLst>
            </p:cNvPr>
            <p:cNvSpPr/>
            <p:nvPr/>
          </p:nvSpPr>
          <p:spPr>
            <a:xfrm flipH="1">
              <a:off x="766315" y="1150627"/>
              <a:ext cx="192280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8" name="Oval 504">
              <a:extLst>
                <a:ext uri="{FF2B5EF4-FFF2-40B4-BE49-F238E27FC236}">
                  <a16:creationId xmlns:a16="http://schemas.microsoft.com/office/drawing/2014/main" id="{8F45EB0D-DD6B-A7E2-A03C-1B94BC5426A6}"/>
                </a:ext>
              </a:extLst>
            </p:cNvPr>
            <p:cNvSpPr/>
            <p:nvPr/>
          </p:nvSpPr>
          <p:spPr>
            <a:xfrm flipH="1">
              <a:off x="728715" y="4374"/>
              <a:ext cx="267480" cy="267480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9" name="Oval 511">
              <a:extLst>
                <a:ext uri="{FF2B5EF4-FFF2-40B4-BE49-F238E27FC236}">
                  <a16:creationId xmlns:a16="http://schemas.microsoft.com/office/drawing/2014/main" id="{776AEAE1-712D-EDB9-3990-A2731FA59EE0}"/>
                </a:ext>
              </a:extLst>
            </p:cNvPr>
            <p:cNvSpPr/>
            <p:nvPr/>
          </p:nvSpPr>
          <p:spPr>
            <a:xfrm flipH="1">
              <a:off x="803578" y="453209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0" name="Oval 534">
              <a:extLst>
                <a:ext uri="{FF2B5EF4-FFF2-40B4-BE49-F238E27FC236}">
                  <a16:creationId xmlns:a16="http://schemas.microsoft.com/office/drawing/2014/main" id="{83746FFD-AF27-D720-9EEB-0EBC3237D5F3}"/>
                </a:ext>
              </a:extLst>
            </p:cNvPr>
            <p:cNvSpPr/>
            <p:nvPr/>
          </p:nvSpPr>
          <p:spPr>
            <a:xfrm flipH="1">
              <a:off x="772293" y="802177"/>
              <a:ext cx="162733" cy="162733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1" name="Oval 505">
              <a:extLst>
                <a:ext uri="{FF2B5EF4-FFF2-40B4-BE49-F238E27FC236}">
                  <a16:creationId xmlns:a16="http://schemas.microsoft.com/office/drawing/2014/main" id="{2B6EFC2B-E3B0-1D1C-2F22-2988A0EE8FC1}"/>
                </a:ext>
              </a:extLst>
            </p:cNvPr>
            <p:cNvSpPr/>
            <p:nvPr/>
          </p:nvSpPr>
          <p:spPr>
            <a:xfrm flipH="1">
              <a:off x="62647" y="68296"/>
              <a:ext cx="152115" cy="152115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2" name="Oval 512">
              <a:extLst>
                <a:ext uri="{FF2B5EF4-FFF2-40B4-BE49-F238E27FC236}">
                  <a16:creationId xmlns:a16="http://schemas.microsoft.com/office/drawing/2014/main" id="{98C32201-4F3C-555E-BD09-9CD4FCD12863}"/>
                </a:ext>
              </a:extLst>
            </p:cNvPr>
            <p:cNvSpPr/>
            <p:nvPr/>
          </p:nvSpPr>
          <p:spPr>
            <a:xfrm flipH="1">
              <a:off x="37535" y="409163"/>
              <a:ext cx="202339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3" name="Oval 535">
              <a:extLst>
                <a:ext uri="{FF2B5EF4-FFF2-40B4-BE49-F238E27FC236}">
                  <a16:creationId xmlns:a16="http://schemas.microsoft.com/office/drawing/2014/main" id="{624B2C8F-7137-5E38-1A81-742EE0990C84}"/>
                </a:ext>
              </a:extLst>
            </p:cNvPr>
            <p:cNvSpPr/>
            <p:nvPr/>
          </p:nvSpPr>
          <p:spPr>
            <a:xfrm flipH="1">
              <a:off x="79927" y="824765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4" name="Oval 548">
              <a:extLst>
                <a:ext uri="{FF2B5EF4-FFF2-40B4-BE49-F238E27FC236}">
                  <a16:creationId xmlns:a16="http://schemas.microsoft.com/office/drawing/2014/main" id="{4F277C65-62B8-D523-A11C-3B8C0F86B5C2}"/>
                </a:ext>
              </a:extLst>
            </p:cNvPr>
            <p:cNvSpPr/>
            <p:nvPr/>
          </p:nvSpPr>
          <p:spPr>
            <a:xfrm flipH="1">
              <a:off x="4965" y="1113028"/>
              <a:ext cx="267479" cy="267480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5" name="Straight Connector 523">
              <a:extLst>
                <a:ext uri="{FF2B5EF4-FFF2-40B4-BE49-F238E27FC236}">
                  <a16:creationId xmlns:a16="http://schemas.microsoft.com/office/drawing/2014/main" id="{8C966D50-41E2-62ED-54B7-ABE3999ECDEA}"/>
                </a:ext>
              </a:extLst>
            </p:cNvPr>
            <p:cNvSpPr/>
            <p:nvPr/>
          </p:nvSpPr>
          <p:spPr>
            <a:xfrm flipH="1">
              <a:off x="237999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6" name="Straight Connector 540">
              <a:extLst>
                <a:ext uri="{FF2B5EF4-FFF2-40B4-BE49-F238E27FC236}">
                  <a16:creationId xmlns:a16="http://schemas.microsoft.com/office/drawing/2014/main" id="{3DC9596E-D9FE-4885-DD7C-3BDEF466D9F7}"/>
                </a:ext>
              </a:extLst>
            </p:cNvPr>
            <p:cNvSpPr/>
            <p:nvPr/>
          </p:nvSpPr>
          <p:spPr>
            <a:xfrm flipH="1">
              <a:off x="238158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7" name="Straight Connector 553">
              <a:extLst>
                <a:ext uri="{FF2B5EF4-FFF2-40B4-BE49-F238E27FC236}">
                  <a16:creationId xmlns:a16="http://schemas.microsoft.com/office/drawing/2014/main" id="{6630A791-9B03-C577-6178-1A3B2BE3A3B5}"/>
                </a:ext>
              </a:extLst>
            </p:cNvPr>
            <p:cNvSpPr/>
            <p:nvPr/>
          </p:nvSpPr>
          <p:spPr>
            <a:xfrm flipH="1">
              <a:off x="237829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8" name="Straight Connector 565">
              <a:extLst>
                <a:ext uri="{FF2B5EF4-FFF2-40B4-BE49-F238E27FC236}">
                  <a16:creationId xmlns:a16="http://schemas.microsoft.com/office/drawing/2014/main" id="{23C28062-74BF-9F4F-29E1-44D220D21628}"/>
                </a:ext>
              </a:extLst>
            </p:cNvPr>
            <p:cNvSpPr/>
            <p:nvPr/>
          </p:nvSpPr>
          <p:spPr>
            <a:xfrm flipV="1">
              <a:off x="238158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9" name="Straight Connector 566">
              <a:extLst>
                <a:ext uri="{FF2B5EF4-FFF2-40B4-BE49-F238E27FC236}">
                  <a16:creationId xmlns:a16="http://schemas.microsoft.com/office/drawing/2014/main" id="{6653BEBF-3D35-0F7B-BEF4-81ED2F18C22B}"/>
                </a:ext>
              </a:extLst>
            </p:cNvPr>
            <p:cNvSpPr/>
            <p:nvPr/>
          </p:nvSpPr>
          <p:spPr>
            <a:xfrm flipV="1">
              <a:off x="2383211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0" name="Straight Connector 583">
              <a:extLst>
                <a:ext uri="{FF2B5EF4-FFF2-40B4-BE49-F238E27FC236}">
                  <a16:creationId xmlns:a16="http://schemas.microsoft.com/office/drawing/2014/main" id="{1E426D77-E286-7A54-6185-183F1F1E46C9}"/>
                </a:ext>
              </a:extLst>
            </p:cNvPr>
            <p:cNvSpPr/>
            <p:nvPr/>
          </p:nvSpPr>
          <p:spPr>
            <a:xfrm flipV="1">
              <a:off x="2383211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1" name="Straight Connector 584">
              <a:extLst>
                <a:ext uri="{FF2B5EF4-FFF2-40B4-BE49-F238E27FC236}">
                  <a16:creationId xmlns:a16="http://schemas.microsoft.com/office/drawing/2014/main" id="{8728516B-2F3C-BF9B-5F45-598C32804315}"/>
                </a:ext>
              </a:extLst>
            </p:cNvPr>
            <p:cNvSpPr/>
            <p:nvPr/>
          </p:nvSpPr>
          <p:spPr>
            <a:xfrm flipV="1">
              <a:off x="238158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2" name="Straight Connector 585">
              <a:extLst>
                <a:ext uri="{FF2B5EF4-FFF2-40B4-BE49-F238E27FC236}">
                  <a16:creationId xmlns:a16="http://schemas.microsoft.com/office/drawing/2014/main" id="{3F79B8DF-26E3-3101-1FF3-42055E2E2943}"/>
                </a:ext>
              </a:extLst>
            </p:cNvPr>
            <p:cNvSpPr/>
            <p:nvPr/>
          </p:nvSpPr>
          <p:spPr>
            <a:xfrm>
              <a:off x="238310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3" name="Straight Connector 586">
              <a:extLst>
                <a:ext uri="{FF2B5EF4-FFF2-40B4-BE49-F238E27FC236}">
                  <a16:creationId xmlns:a16="http://schemas.microsoft.com/office/drawing/2014/main" id="{8A58F59B-CF36-1E53-837B-3BD1E644E3D4}"/>
                </a:ext>
              </a:extLst>
            </p:cNvPr>
            <p:cNvSpPr/>
            <p:nvPr/>
          </p:nvSpPr>
          <p:spPr>
            <a:xfrm flipV="1">
              <a:off x="2381588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4" name="Straight Connector 587">
              <a:extLst>
                <a:ext uri="{FF2B5EF4-FFF2-40B4-BE49-F238E27FC236}">
                  <a16:creationId xmlns:a16="http://schemas.microsoft.com/office/drawing/2014/main" id="{E1349D5F-B790-6CD3-0402-0793BC2ED53F}"/>
                </a:ext>
              </a:extLst>
            </p:cNvPr>
            <p:cNvSpPr/>
            <p:nvPr/>
          </p:nvSpPr>
          <p:spPr>
            <a:xfrm>
              <a:off x="238320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5" name="Straight Connector 588">
              <a:extLst>
                <a:ext uri="{FF2B5EF4-FFF2-40B4-BE49-F238E27FC236}">
                  <a16:creationId xmlns:a16="http://schemas.microsoft.com/office/drawing/2014/main" id="{0207ABAA-121C-76FA-6DAA-DFFE301A249F}"/>
                </a:ext>
              </a:extLst>
            </p:cNvPr>
            <p:cNvSpPr/>
            <p:nvPr/>
          </p:nvSpPr>
          <p:spPr>
            <a:xfrm>
              <a:off x="2383233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6" name="Straight Connector 589">
              <a:extLst>
                <a:ext uri="{FF2B5EF4-FFF2-40B4-BE49-F238E27FC236}">
                  <a16:creationId xmlns:a16="http://schemas.microsoft.com/office/drawing/2014/main" id="{175F457E-679B-77FB-AC3A-668658D18583}"/>
                </a:ext>
              </a:extLst>
            </p:cNvPr>
            <p:cNvSpPr/>
            <p:nvPr/>
          </p:nvSpPr>
          <p:spPr>
            <a:xfrm>
              <a:off x="238229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7" name="Straight Connector 590">
              <a:extLst>
                <a:ext uri="{FF2B5EF4-FFF2-40B4-BE49-F238E27FC236}">
                  <a16:creationId xmlns:a16="http://schemas.microsoft.com/office/drawing/2014/main" id="{10C37696-F244-CF09-A409-A9F34758FC64}"/>
                </a:ext>
              </a:extLst>
            </p:cNvPr>
            <p:cNvSpPr/>
            <p:nvPr/>
          </p:nvSpPr>
          <p:spPr>
            <a:xfrm>
              <a:off x="2381547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8" name="Straight Connector 591">
              <a:extLst>
                <a:ext uri="{FF2B5EF4-FFF2-40B4-BE49-F238E27FC236}">
                  <a16:creationId xmlns:a16="http://schemas.microsoft.com/office/drawing/2014/main" id="{EB0664E6-A159-7EFB-1CB5-03AC1942E97C}"/>
                </a:ext>
              </a:extLst>
            </p:cNvPr>
            <p:cNvSpPr/>
            <p:nvPr/>
          </p:nvSpPr>
          <p:spPr>
            <a:xfrm>
              <a:off x="238305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9" name="Straight Connector 592">
              <a:extLst>
                <a:ext uri="{FF2B5EF4-FFF2-40B4-BE49-F238E27FC236}">
                  <a16:creationId xmlns:a16="http://schemas.microsoft.com/office/drawing/2014/main" id="{BEA779E6-B23F-3713-A9CF-3E8E725FD8A1}"/>
                </a:ext>
              </a:extLst>
            </p:cNvPr>
            <p:cNvSpPr/>
            <p:nvPr/>
          </p:nvSpPr>
          <p:spPr>
            <a:xfrm flipH="1">
              <a:off x="237876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0" name="Straight Connector 523">
              <a:extLst>
                <a:ext uri="{FF2B5EF4-FFF2-40B4-BE49-F238E27FC236}">
                  <a16:creationId xmlns:a16="http://schemas.microsoft.com/office/drawing/2014/main" id="{25775BD9-CB4A-1741-BD1F-CA6368C17798}"/>
                </a:ext>
              </a:extLst>
            </p:cNvPr>
            <p:cNvSpPr/>
            <p:nvPr/>
          </p:nvSpPr>
          <p:spPr>
            <a:xfrm flipH="1">
              <a:off x="2752067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1" name="Straight Connector 540">
              <a:extLst>
                <a:ext uri="{FF2B5EF4-FFF2-40B4-BE49-F238E27FC236}">
                  <a16:creationId xmlns:a16="http://schemas.microsoft.com/office/drawing/2014/main" id="{F1EBCAD9-BA38-CE8C-5CC5-00019BBBF11D}"/>
                </a:ext>
              </a:extLst>
            </p:cNvPr>
            <p:cNvSpPr/>
            <p:nvPr/>
          </p:nvSpPr>
          <p:spPr>
            <a:xfrm flipH="1">
              <a:off x="2753655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2" name="Straight Connector 553">
              <a:extLst>
                <a:ext uri="{FF2B5EF4-FFF2-40B4-BE49-F238E27FC236}">
                  <a16:creationId xmlns:a16="http://schemas.microsoft.com/office/drawing/2014/main" id="{E52127B3-133C-CF7B-AB26-8000D26E9F04}"/>
                </a:ext>
              </a:extLst>
            </p:cNvPr>
            <p:cNvSpPr/>
            <p:nvPr/>
          </p:nvSpPr>
          <p:spPr>
            <a:xfrm flipH="1">
              <a:off x="2750363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3" name="Straight Connector 565">
              <a:extLst>
                <a:ext uri="{FF2B5EF4-FFF2-40B4-BE49-F238E27FC236}">
                  <a16:creationId xmlns:a16="http://schemas.microsoft.com/office/drawing/2014/main" id="{969AAD6A-3D65-CB05-0E91-09A35E05E5D0}"/>
                </a:ext>
              </a:extLst>
            </p:cNvPr>
            <p:cNvSpPr/>
            <p:nvPr/>
          </p:nvSpPr>
          <p:spPr>
            <a:xfrm flipV="1">
              <a:off x="2753656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4" name="Straight Connector 566">
              <a:extLst>
                <a:ext uri="{FF2B5EF4-FFF2-40B4-BE49-F238E27FC236}">
                  <a16:creationId xmlns:a16="http://schemas.microsoft.com/office/drawing/2014/main" id="{051DE4EA-D7B9-9553-C822-997DC85190D9}"/>
                </a:ext>
              </a:extLst>
            </p:cNvPr>
            <p:cNvSpPr/>
            <p:nvPr/>
          </p:nvSpPr>
          <p:spPr>
            <a:xfrm flipV="1">
              <a:off x="2755279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5" name="Straight Connector 583">
              <a:extLst>
                <a:ext uri="{FF2B5EF4-FFF2-40B4-BE49-F238E27FC236}">
                  <a16:creationId xmlns:a16="http://schemas.microsoft.com/office/drawing/2014/main" id="{427E7989-1223-8ABC-0F55-EF3AEC30DBAB}"/>
                </a:ext>
              </a:extLst>
            </p:cNvPr>
            <p:cNvSpPr/>
            <p:nvPr/>
          </p:nvSpPr>
          <p:spPr>
            <a:xfrm flipV="1">
              <a:off x="2755279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6" name="Straight Connector 584">
              <a:extLst>
                <a:ext uri="{FF2B5EF4-FFF2-40B4-BE49-F238E27FC236}">
                  <a16:creationId xmlns:a16="http://schemas.microsoft.com/office/drawing/2014/main" id="{B72E0336-64DF-B4E6-D6D7-4BD66E259E8E}"/>
                </a:ext>
              </a:extLst>
            </p:cNvPr>
            <p:cNvSpPr/>
            <p:nvPr/>
          </p:nvSpPr>
          <p:spPr>
            <a:xfrm flipV="1">
              <a:off x="2753656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7" name="Straight Connector 585">
              <a:extLst>
                <a:ext uri="{FF2B5EF4-FFF2-40B4-BE49-F238E27FC236}">
                  <a16:creationId xmlns:a16="http://schemas.microsoft.com/office/drawing/2014/main" id="{80AA5F44-59BB-126C-E0FA-E9064CA4DAEA}"/>
                </a:ext>
              </a:extLst>
            </p:cNvPr>
            <p:cNvSpPr/>
            <p:nvPr/>
          </p:nvSpPr>
          <p:spPr>
            <a:xfrm>
              <a:off x="2755176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8" name="Straight Connector 586">
              <a:extLst>
                <a:ext uri="{FF2B5EF4-FFF2-40B4-BE49-F238E27FC236}">
                  <a16:creationId xmlns:a16="http://schemas.microsoft.com/office/drawing/2014/main" id="{AC2A8C2E-7553-32EB-BD8F-128212CC1D05}"/>
                </a:ext>
              </a:extLst>
            </p:cNvPr>
            <p:cNvSpPr/>
            <p:nvPr/>
          </p:nvSpPr>
          <p:spPr>
            <a:xfrm flipV="1">
              <a:off x="2753656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9" name="Straight Connector 587">
              <a:extLst>
                <a:ext uri="{FF2B5EF4-FFF2-40B4-BE49-F238E27FC236}">
                  <a16:creationId xmlns:a16="http://schemas.microsoft.com/office/drawing/2014/main" id="{256CF222-77C9-BEF4-201B-32D1D0558A14}"/>
                </a:ext>
              </a:extLst>
            </p:cNvPr>
            <p:cNvSpPr/>
            <p:nvPr/>
          </p:nvSpPr>
          <p:spPr>
            <a:xfrm>
              <a:off x="2755277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0" name="Straight Connector 588">
              <a:extLst>
                <a:ext uri="{FF2B5EF4-FFF2-40B4-BE49-F238E27FC236}">
                  <a16:creationId xmlns:a16="http://schemas.microsoft.com/office/drawing/2014/main" id="{62B2669B-BF2D-3D2A-CC62-54A064A5D9A6}"/>
                </a:ext>
              </a:extLst>
            </p:cNvPr>
            <p:cNvSpPr/>
            <p:nvPr/>
          </p:nvSpPr>
          <p:spPr>
            <a:xfrm>
              <a:off x="2755301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1" name="Straight Connector 589">
              <a:extLst>
                <a:ext uri="{FF2B5EF4-FFF2-40B4-BE49-F238E27FC236}">
                  <a16:creationId xmlns:a16="http://schemas.microsoft.com/office/drawing/2014/main" id="{ACEFB5A3-C337-433E-A5F7-C161DB8C43D9}"/>
                </a:ext>
              </a:extLst>
            </p:cNvPr>
            <p:cNvSpPr/>
            <p:nvPr/>
          </p:nvSpPr>
          <p:spPr>
            <a:xfrm>
              <a:off x="2754361" y="510166"/>
              <a:ext cx="281642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2" name="Straight Connector 590">
              <a:extLst>
                <a:ext uri="{FF2B5EF4-FFF2-40B4-BE49-F238E27FC236}">
                  <a16:creationId xmlns:a16="http://schemas.microsoft.com/office/drawing/2014/main" id="{609BDFEF-7067-00F7-B6BB-B6C4495327D3}"/>
                </a:ext>
              </a:extLst>
            </p:cNvPr>
            <p:cNvSpPr/>
            <p:nvPr/>
          </p:nvSpPr>
          <p:spPr>
            <a:xfrm>
              <a:off x="2753615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3" name="Straight Connector 591">
              <a:extLst>
                <a:ext uri="{FF2B5EF4-FFF2-40B4-BE49-F238E27FC236}">
                  <a16:creationId xmlns:a16="http://schemas.microsoft.com/office/drawing/2014/main" id="{0E663C25-F8D3-B846-C186-5846ACC22217}"/>
                </a:ext>
              </a:extLst>
            </p:cNvPr>
            <p:cNvSpPr/>
            <p:nvPr/>
          </p:nvSpPr>
          <p:spPr>
            <a:xfrm>
              <a:off x="2755125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4" name="Straight Connector 592">
              <a:extLst>
                <a:ext uri="{FF2B5EF4-FFF2-40B4-BE49-F238E27FC236}">
                  <a16:creationId xmlns:a16="http://schemas.microsoft.com/office/drawing/2014/main" id="{FEBAAD80-D572-0043-065D-E80318DA617F}"/>
                </a:ext>
              </a:extLst>
            </p:cNvPr>
            <p:cNvSpPr/>
            <p:nvPr/>
          </p:nvSpPr>
          <p:spPr>
            <a:xfrm flipH="1">
              <a:off x="2750833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5" name="Oval 499">
              <a:extLst>
                <a:ext uri="{FF2B5EF4-FFF2-40B4-BE49-F238E27FC236}">
                  <a16:creationId xmlns:a16="http://schemas.microsoft.com/office/drawing/2014/main" id="{4E3267E2-DB77-E2C0-8D0B-98D45DAC0C44}"/>
                </a:ext>
              </a:extLst>
            </p:cNvPr>
            <p:cNvSpPr/>
            <p:nvPr/>
          </p:nvSpPr>
          <p:spPr>
            <a:xfrm flipH="1">
              <a:off x="3001262" y="68296"/>
              <a:ext cx="152116" cy="152115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6" name="Oval 506">
              <a:extLst>
                <a:ext uri="{FF2B5EF4-FFF2-40B4-BE49-F238E27FC236}">
                  <a16:creationId xmlns:a16="http://schemas.microsoft.com/office/drawing/2014/main" id="{CF0BCC24-1357-FFA7-1D5D-C6B6A12C6D7C}"/>
                </a:ext>
              </a:extLst>
            </p:cNvPr>
            <p:cNvSpPr/>
            <p:nvPr/>
          </p:nvSpPr>
          <p:spPr>
            <a:xfrm flipH="1">
              <a:off x="2959366" y="393835"/>
              <a:ext cx="235908" cy="235909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7" name="Oval 529">
              <a:extLst>
                <a:ext uri="{FF2B5EF4-FFF2-40B4-BE49-F238E27FC236}">
                  <a16:creationId xmlns:a16="http://schemas.microsoft.com/office/drawing/2014/main" id="{A22F20BE-5BDA-CF72-315B-9FE9D58BB3B5}"/>
                </a:ext>
              </a:extLst>
            </p:cNvPr>
            <p:cNvSpPr/>
            <p:nvPr/>
          </p:nvSpPr>
          <p:spPr>
            <a:xfrm flipH="1">
              <a:off x="3018542" y="824765"/>
              <a:ext cx="117556" cy="117556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8" name="Oval 542">
              <a:extLst>
                <a:ext uri="{FF2B5EF4-FFF2-40B4-BE49-F238E27FC236}">
                  <a16:creationId xmlns:a16="http://schemas.microsoft.com/office/drawing/2014/main" id="{F5BAFB7F-36E1-D9A7-4D30-70ABCF36DA4C}"/>
                </a:ext>
              </a:extLst>
            </p:cNvPr>
            <p:cNvSpPr/>
            <p:nvPr/>
          </p:nvSpPr>
          <p:spPr>
            <a:xfrm flipH="1">
              <a:off x="2984848" y="1158058"/>
              <a:ext cx="177419" cy="177420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9" name="Oval 501">
              <a:extLst>
                <a:ext uri="{FF2B5EF4-FFF2-40B4-BE49-F238E27FC236}">
                  <a16:creationId xmlns:a16="http://schemas.microsoft.com/office/drawing/2014/main" id="{7F16F786-346E-3A5F-24A7-3A790154BC3A}"/>
                </a:ext>
              </a:extLst>
            </p:cNvPr>
            <p:cNvSpPr/>
            <p:nvPr/>
          </p:nvSpPr>
          <p:spPr>
            <a:xfrm flipH="1">
              <a:off x="2273337" y="79336"/>
              <a:ext cx="117557" cy="117555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0" name="Oval 508">
              <a:extLst>
                <a:ext uri="{FF2B5EF4-FFF2-40B4-BE49-F238E27FC236}">
                  <a16:creationId xmlns:a16="http://schemas.microsoft.com/office/drawing/2014/main" id="{ECF589DC-3855-6AEF-98C5-5FC909034CE9}"/>
                </a:ext>
              </a:extLst>
            </p:cNvPr>
            <p:cNvSpPr/>
            <p:nvPr/>
          </p:nvSpPr>
          <p:spPr>
            <a:xfrm flipH="1">
              <a:off x="2243406" y="423080"/>
              <a:ext cx="177419" cy="17741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1" name="Oval 531">
              <a:extLst>
                <a:ext uri="{FF2B5EF4-FFF2-40B4-BE49-F238E27FC236}">
                  <a16:creationId xmlns:a16="http://schemas.microsoft.com/office/drawing/2014/main" id="{8BB2C542-A2E0-BBED-5128-051A421E49A4}"/>
                </a:ext>
              </a:extLst>
            </p:cNvPr>
            <p:cNvSpPr/>
            <p:nvPr/>
          </p:nvSpPr>
          <p:spPr>
            <a:xfrm flipH="1">
              <a:off x="2205214" y="771820"/>
              <a:ext cx="253803" cy="253804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2" name="Oval 544">
              <a:extLst>
                <a:ext uri="{FF2B5EF4-FFF2-40B4-BE49-F238E27FC236}">
                  <a16:creationId xmlns:a16="http://schemas.microsoft.com/office/drawing/2014/main" id="{A5457250-6D14-21DA-E67B-20A7FFC03F49}"/>
                </a:ext>
              </a:extLst>
            </p:cNvPr>
            <p:cNvSpPr/>
            <p:nvPr/>
          </p:nvSpPr>
          <p:spPr>
            <a:xfrm flipH="1">
              <a:off x="2235975" y="1161616"/>
              <a:ext cx="192281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3" name="Oval 507">
              <a:extLst>
                <a:ext uri="{FF2B5EF4-FFF2-40B4-BE49-F238E27FC236}">
                  <a16:creationId xmlns:a16="http://schemas.microsoft.com/office/drawing/2014/main" id="{C22C4B94-6E4B-7BEB-B7C5-066E420C16BB}"/>
                </a:ext>
              </a:extLst>
            </p:cNvPr>
            <p:cNvSpPr/>
            <p:nvPr/>
          </p:nvSpPr>
          <p:spPr>
            <a:xfrm flipH="1">
              <a:off x="2650307" y="453011"/>
              <a:ext cx="117556" cy="11755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4" name="Oval 530">
              <a:extLst>
                <a:ext uri="{FF2B5EF4-FFF2-40B4-BE49-F238E27FC236}">
                  <a16:creationId xmlns:a16="http://schemas.microsoft.com/office/drawing/2014/main" id="{4B2F0FC2-FDD9-6EC5-DD31-0329DF90B8DE}"/>
                </a:ext>
              </a:extLst>
            </p:cNvPr>
            <p:cNvSpPr/>
            <p:nvPr/>
          </p:nvSpPr>
          <p:spPr>
            <a:xfrm flipH="1">
              <a:off x="2619305" y="793763"/>
              <a:ext cx="179561" cy="17956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5" name="Oval 543">
              <a:extLst>
                <a:ext uri="{FF2B5EF4-FFF2-40B4-BE49-F238E27FC236}">
                  <a16:creationId xmlns:a16="http://schemas.microsoft.com/office/drawing/2014/main" id="{31A37720-923F-94DA-F68B-099C76D5DDF9}"/>
                </a:ext>
              </a:extLst>
            </p:cNvPr>
            <p:cNvSpPr/>
            <p:nvPr/>
          </p:nvSpPr>
          <p:spPr>
            <a:xfrm flipH="1">
              <a:off x="2650307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6" name="Oval 500">
              <a:extLst>
                <a:ext uri="{FF2B5EF4-FFF2-40B4-BE49-F238E27FC236}">
                  <a16:creationId xmlns:a16="http://schemas.microsoft.com/office/drawing/2014/main" id="{454BA12D-EE82-1FB9-5563-4B656A030AB1}"/>
                </a:ext>
              </a:extLst>
            </p:cNvPr>
            <p:cNvSpPr/>
            <p:nvPr/>
          </p:nvSpPr>
          <p:spPr>
            <a:xfrm flipH="1">
              <a:off x="2596976" y="32244"/>
              <a:ext cx="224218" cy="224218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328" name="TextBox 327">
            <a:extLst>
              <a:ext uri="{FF2B5EF4-FFF2-40B4-BE49-F238E27FC236}">
                <a16:creationId xmlns:a16="http://schemas.microsoft.com/office/drawing/2014/main" id="{6854DB21-3FC5-509E-7014-5F6564F29C9F}"/>
              </a:ext>
            </a:extLst>
          </p:cNvPr>
          <p:cNvSpPr txBox="1"/>
          <p:nvPr/>
        </p:nvSpPr>
        <p:spPr>
          <a:xfrm>
            <a:off x="4541899" y="4642421"/>
            <a:ext cx="431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6281141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Rectangle">
            <a:extLst>
              <a:ext uri="{FF2B5EF4-FFF2-40B4-BE49-F238E27FC236}">
                <a16:creationId xmlns:a16="http://schemas.microsoft.com/office/drawing/2014/main" id="{B12E4BD1-FF4C-1FF0-6B2F-822D995E69B0}"/>
              </a:ext>
            </a:extLst>
          </p:cNvPr>
          <p:cNvSpPr/>
          <p:nvPr/>
        </p:nvSpPr>
        <p:spPr>
          <a:xfrm>
            <a:off x="1" y="3762397"/>
            <a:ext cx="12310844" cy="2353056"/>
          </a:xfrm>
          <a:prstGeom prst="rect">
            <a:avLst/>
          </a:prstGeom>
          <a:solidFill>
            <a:srgbClr val="33B1FF">
              <a:alpha val="9823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4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Foundation models: Generalizable and adaptable 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n-ea"/>
                <a:cs typeface="+mn-cs"/>
              </a:rPr>
              <a:t>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54" name="Image" descr="Image">
            <a:extLst>
              <a:ext uri="{FF2B5EF4-FFF2-40B4-BE49-F238E27FC236}">
                <a16:creationId xmlns:a16="http://schemas.microsoft.com/office/drawing/2014/main" id="{CB7B1F80-8315-6B6F-13C1-1DD0078ED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2592" y="1395236"/>
            <a:ext cx="5811472" cy="2070337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5" name="Group">
            <a:extLst>
              <a:ext uri="{FF2B5EF4-FFF2-40B4-BE49-F238E27FC236}">
                <a16:creationId xmlns:a16="http://schemas.microsoft.com/office/drawing/2014/main" id="{04DFA14C-0742-35D4-B593-ABECD4D59AEE}"/>
              </a:ext>
            </a:extLst>
          </p:cNvPr>
          <p:cNvGrpSpPr/>
          <p:nvPr/>
        </p:nvGrpSpPr>
        <p:grpSpPr>
          <a:xfrm>
            <a:off x="9893699" y="2156219"/>
            <a:ext cx="1605912" cy="716583"/>
            <a:chOff x="0" y="0"/>
            <a:chExt cx="3211821" cy="1433162"/>
          </a:xfrm>
        </p:grpSpPr>
        <p:sp>
          <p:nvSpPr>
            <p:cNvPr id="56" name="Rectangle">
              <a:extLst>
                <a:ext uri="{FF2B5EF4-FFF2-40B4-BE49-F238E27FC236}">
                  <a16:creationId xmlns:a16="http://schemas.microsoft.com/office/drawing/2014/main" id="{BEEBC10C-AEB3-55F6-465D-E31511C5E13C}"/>
                </a:ext>
              </a:extLst>
            </p:cNvPr>
            <p:cNvSpPr/>
            <p:nvPr/>
          </p:nvSpPr>
          <p:spPr>
            <a:xfrm>
              <a:off x="0" y="0"/>
              <a:ext cx="3211822" cy="143316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marL="0" marR="0" lvl="0" indent="0" algn="l" defTabSz="412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58" name="Straight Connector 523">
              <a:extLst>
                <a:ext uri="{FF2B5EF4-FFF2-40B4-BE49-F238E27FC236}">
                  <a16:creationId xmlns:a16="http://schemas.microsoft.com/office/drawing/2014/main" id="{1F077A8C-9A8C-20E9-0CC8-C78C45631EF8}"/>
                </a:ext>
              </a:extLst>
            </p:cNvPr>
            <p:cNvSpPr/>
            <p:nvPr/>
          </p:nvSpPr>
          <p:spPr>
            <a:xfrm flipH="1">
              <a:off x="911403" y="510331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2" name="Straight Connector 524">
              <a:extLst>
                <a:ext uri="{FF2B5EF4-FFF2-40B4-BE49-F238E27FC236}">
                  <a16:creationId xmlns:a16="http://schemas.microsoft.com/office/drawing/2014/main" id="{8C1D1688-324B-4FC9-2C9E-B6510388AA5B}"/>
                </a:ext>
              </a:extLst>
            </p:cNvPr>
            <p:cNvSpPr/>
            <p:nvPr/>
          </p:nvSpPr>
          <p:spPr>
            <a:xfrm flipH="1" flipV="1">
              <a:off x="195534" y="51033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3" name="Straight Connector 540">
              <a:extLst>
                <a:ext uri="{FF2B5EF4-FFF2-40B4-BE49-F238E27FC236}">
                  <a16:creationId xmlns:a16="http://schemas.microsoft.com/office/drawing/2014/main" id="{3DC79698-316E-EFD1-D892-8716394735ED}"/>
                </a:ext>
              </a:extLst>
            </p:cNvPr>
            <p:cNvSpPr/>
            <p:nvPr/>
          </p:nvSpPr>
          <p:spPr>
            <a:xfrm flipH="1">
              <a:off x="912992" y="883543"/>
              <a:ext cx="28728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4" name="Straight Connector 541">
              <a:extLst>
                <a:ext uri="{FF2B5EF4-FFF2-40B4-BE49-F238E27FC236}">
                  <a16:creationId xmlns:a16="http://schemas.microsoft.com/office/drawing/2014/main" id="{63D15CB5-5A2E-5D92-B598-D58A66A6B743}"/>
                </a:ext>
              </a:extLst>
            </p:cNvPr>
            <p:cNvSpPr/>
            <p:nvPr/>
          </p:nvSpPr>
          <p:spPr>
            <a:xfrm flipH="1">
              <a:off x="195534" y="883543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5" name="Straight Connector 553">
              <a:extLst>
                <a:ext uri="{FF2B5EF4-FFF2-40B4-BE49-F238E27FC236}">
                  <a16:creationId xmlns:a16="http://schemas.microsoft.com/office/drawing/2014/main" id="{1786B658-AED2-1B47-D8EC-4E24004BFCE3}"/>
                </a:ext>
              </a:extLst>
            </p:cNvPr>
            <p:cNvSpPr/>
            <p:nvPr/>
          </p:nvSpPr>
          <p:spPr>
            <a:xfrm flipH="1">
              <a:off x="909699" y="1257756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6" name="Straight Connector 554">
              <a:extLst>
                <a:ext uri="{FF2B5EF4-FFF2-40B4-BE49-F238E27FC236}">
                  <a16:creationId xmlns:a16="http://schemas.microsoft.com/office/drawing/2014/main" id="{F61C9B0A-0159-F4B1-735F-C8DC4E472166}"/>
                </a:ext>
              </a:extLst>
            </p:cNvPr>
            <p:cNvSpPr/>
            <p:nvPr/>
          </p:nvSpPr>
          <p:spPr>
            <a:xfrm flipH="1">
              <a:off x="195534" y="1256755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7" name="Straight Connector 565">
              <a:extLst>
                <a:ext uri="{FF2B5EF4-FFF2-40B4-BE49-F238E27FC236}">
                  <a16:creationId xmlns:a16="http://schemas.microsoft.com/office/drawing/2014/main" id="{8A3862FC-2433-3250-6122-77100A102FA8}"/>
                </a:ext>
              </a:extLst>
            </p:cNvPr>
            <p:cNvSpPr/>
            <p:nvPr/>
          </p:nvSpPr>
          <p:spPr>
            <a:xfrm flipV="1">
              <a:off x="912992" y="137082"/>
              <a:ext cx="285565" cy="74941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8" name="Straight Connector 566">
              <a:extLst>
                <a:ext uri="{FF2B5EF4-FFF2-40B4-BE49-F238E27FC236}">
                  <a16:creationId xmlns:a16="http://schemas.microsoft.com/office/drawing/2014/main" id="{5AABE43F-01A0-1B82-C6E5-616E7E828857}"/>
                </a:ext>
              </a:extLst>
            </p:cNvPr>
            <p:cNvSpPr/>
            <p:nvPr/>
          </p:nvSpPr>
          <p:spPr>
            <a:xfrm flipV="1">
              <a:off x="914615" y="511635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69" name="Straight Connector 567">
              <a:extLst>
                <a:ext uri="{FF2B5EF4-FFF2-40B4-BE49-F238E27FC236}">
                  <a16:creationId xmlns:a16="http://schemas.microsoft.com/office/drawing/2014/main" id="{8F194696-4F2A-DD91-BB25-073F5B34FB24}"/>
                </a:ext>
              </a:extLst>
            </p:cNvPr>
            <p:cNvSpPr/>
            <p:nvPr/>
          </p:nvSpPr>
          <p:spPr>
            <a:xfrm flipV="1">
              <a:off x="199232" y="138575"/>
              <a:ext cx="627988" cy="37005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0" name="Straight Connector 568">
              <a:extLst>
                <a:ext uri="{FF2B5EF4-FFF2-40B4-BE49-F238E27FC236}">
                  <a16:creationId xmlns:a16="http://schemas.microsoft.com/office/drawing/2014/main" id="{2A41982F-215F-C38F-59A0-97989DAE1D41}"/>
                </a:ext>
              </a:extLst>
            </p:cNvPr>
            <p:cNvSpPr/>
            <p:nvPr/>
          </p:nvSpPr>
          <p:spPr>
            <a:xfrm flipV="1">
              <a:off x="195534" y="13711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1" name="Straight Connector 569">
              <a:extLst>
                <a:ext uri="{FF2B5EF4-FFF2-40B4-BE49-F238E27FC236}">
                  <a16:creationId xmlns:a16="http://schemas.microsoft.com/office/drawing/2014/main" id="{DDB9F36C-44B8-CB74-EE70-ABB646C22BC8}"/>
                </a:ext>
              </a:extLst>
            </p:cNvPr>
            <p:cNvSpPr/>
            <p:nvPr/>
          </p:nvSpPr>
          <p:spPr>
            <a:xfrm flipV="1">
              <a:off x="195535" y="510292"/>
              <a:ext cx="631684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2" name="Straight Connector 570">
              <a:extLst>
                <a:ext uri="{FF2B5EF4-FFF2-40B4-BE49-F238E27FC236}">
                  <a16:creationId xmlns:a16="http://schemas.microsoft.com/office/drawing/2014/main" id="{28DBC384-C0DE-1506-E54D-E73FE5B7935F}"/>
                </a:ext>
              </a:extLst>
            </p:cNvPr>
            <p:cNvSpPr/>
            <p:nvPr/>
          </p:nvSpPr>
          <p:spPr>
            <a:xfrm flipV="1">
              <a:off x="195534" y="883543"/>
              <a:ext cx="631685" cy="37420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3" name="Straight Connector 571">
              <a:extLst>
                <a:ext uri="{FF2B5EF4-FFF2-40B4-BE49-F238E27FC236}">
                  <a16:creationId xmlns:a16="http://schemas.microsoft.com/office/drawing/2014/main" id="{F6142423-98CA-0409-A7DE-A8B20E536181}"/>
                </a:ext>
              </a:extLst>
            </p:cNvPr>
            <p:cNvSpPr/>
            <p:nvPr/>
          </p:nvSpPr>
          <p:spPr>
            <a:xfrm flipV="1">
              <a:off x="195534" y="510332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4" name="Straight Connector 572">
              <a:extLst>
                <a:ext uri="{FF2B5EF4-FFF2-40B4-BE49-F238E27FC236}">
                  <a16:creationId xmlns:a16="http://schemas.microsoft.com/office/drawing/2014/main" id="{4517804A-970F-2063-E635-E019A3853079}"/>
                </a:ext>
              </a:extLst>
            </p:cNvPr>
            <p:cNvSpPr/>
            <p:nvPr/>
          </p:nvSpPr>
          <p:spPr>
            <a:xfrm flipV="1">
              <a:off x="195534" y="137080"/>
              <a:ext cx="631686" cy="112101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5" name="Straight Connector 577">
              <a:extLst>
                <a:ext uri="{FF2B5EF4-FFF2-40B4-BE49-F238E27FC236}">
                  <a16:creationId xmlns:a16="http://schemas.microsoft.com/office/drawing/2014/main" id="{29AA5538-ADBB-6E4B-A846-EB929DE4F6C5}"/>
                </a:ext>
              </a:extLst>
            </p:cNvPr>
            <p:cNvSpPr/>
            <p:nvPr/>
          </p:nvSpPr>
          <p:spPr>
            <a:xfrm flipH="1" flipV="1">
              <a:off x="198183" y="13655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6" name="Straight Connector 578">
              <a:extLst>
                <a:ext uri="{FF2B5EF4-FFF2-40B4-BE49-F238E27FC236}">
                  <a16:creationId xmlns:a16="http://schemas.microsoft.com/office/drawing/2014/main" id="{9F5B45B4-50E0-7064-8264-2A48C3A778B9}"/>
                </a:ext>
              </a:extLst>
            </p:cNvPr>
            <p:cNvSpPr/>
            <p:nvPr/>
          </p:nvSpPr>
          <p:spPr>
            <a:xfrm>
              <a:off x="198183" y="139306"/>
              <a:ext cx="630085" cy="7449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7" name="Straight Connector 579">
              <a:extLst>
                <a:ext uri="{FF2B5EF4-FFF2-40B4-BE49-F238E27FC236}">
                  <a16:creationId xmlns:a16="http://schemas.microsoft.com/office/drawing/2014/main" id="{B7AEFCDE-9335-BC43-6D45-977BFDF2CD4D}"/>
                </a:ext>
              </a:extLst>
            </p:cNvPr>
            <p:cNvSpPr/>
            <p:nvPr/>
          </p:nvSpPr>
          <p:spPr>
            <a:xfrm>
              <a:off x="198183" y="136558"/>
              <a:ext cx="630085" cy="11207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8" name="Straight Connector 580">
              <a:extLst>
                <a:ext uri="{FF2B5EF4-FFF2-40B4-BE49-F238E27FC236}">
                  <a16:creationId xmlns:a16="http://schemas.microsoft.com/office/drawing/2014/main" id="{22964C96-8B91-68A9-A7F0-6ADFC19097A9}"/>
                </a:ext>
              </a:extLst>
            </p:cNvPr>
            <p:cNvSpPr/>
            <p:nvPr/>
          </p:nvSpPr>
          <p:spPr>
            <a:xfrm flipH="1" flipV="1">
              <a:off x="196500" y="51098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79" name="Straight Connector 581">
              <a:extLst>
                <a:ext uri="{FF2B5EF4-FFF2-40B4-BE49-F238E27FC236}">
                  <a16:creationId xmlns:a16="http://schemas.microsoft.com/office/drawing/2014/main" id="{D4C6AD0A-BC19-EC3E-5153-F0BF2398B447}"/>
                </a:ext>
              </a:extLst>
            </p:cNvPr>
            <p:cNvSpPr/>
            <p:nvPr/>
          </p:nvSpPr>
          <p:spPr>
            <a:xfrm flipH="1" flipV="1">
              <a:off x="195535" y="88354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0" name="Straight Connector 582">
              <a:extLst>
                <a:ext uri="{FF2B5EF4-FFF2-40B4-BE49-F238E27FC236}">
                  <a16:creationId xmlns:a16="http://schemas.microsoft.com/office/drawing/2014/main" id="{00C8FF38-24F0-D303-FD0F-189A66ED74F8}"/>
                </a:ext>
              </a:extLst>
            </p:cNvPr>
            <p:cNvSpPr/>
            <p:nvPr/>
          </p:nvSpPr>
          <p:spPr>
            <a:xfrm flipH="1" flipV="1">
              <a:off x="196938" y="50927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1" name="Straight Connector 583">
              <a:extLst>
                <a:ext uri="{FF2B5EF4-FFF2-40B4-BE49-F238E27FC236}">
                  <a16:creationId xmlns:a16="http://schemas.microsoft.com/office/drawing/2014/main" id="{844B8711-D6FF-318D-61C3-BE80DE121A89}"/>
                </a:ext>
              </a:extLst>
            </p:cNvPr>
            <p:cNvSpPr/>
            <p:nvPr/>
          </p:nvSpPr>
          <p:spPr>
            <a:xfrm flipV="1">
              <a:off x="914616" y="137486"/>
              <a:ext cx="281947" cy="37244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2" name="Straight Connector 584">
              <a:extLst>
                <a:ext uri="{FF2B5EF4-FFF2-40B4-BE49-F238E27FC236}">
                  <a16:creationId xmlns:a16="http://schemas.microsoft.com/office/drawing/2014/main" id="{FBE760BF-A190-1422-6EDA-4A7B35249CA3}"/>
                </a:ext>
              </a:extLst>
            </p:cNvPr>
            <p:cNvSpPr/>
            <p:nvPr/>
          </p:nvSpPr>
          <p:spPr>
            <a:xfrm flipV="1">
              <a:off x="912992" y="137082"/>
              <a:ext cx="287280" cy="111967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3" name="Straight Connector 585">
              <a:extLst>
                <a:ext uri="{FF2B5EF4-FFF2-40B4-BE49-F238E27FC236}">
                  <a16:creationId xmlns:a16="http://schemas.microsoft.com/office/drawing/2014/main" id="{F0CB0DB9-79B4-A1D2-AF61-872624A6DA46}"/>
                </a:ext>
              </a:extLst>
            </p:cNvPr>
            <p:cNvSpPr/>
            <p:nvPr/>
          </p:nvSpPr>
          <p:spPr>
            <a:xfrm>
              <a:off x="914513" y="138575"/>
              <a:ext cx="280828" cy="3702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4" name="Straight Connector 586">
              <a:extLst>
                <a:ext uri="{FF2B5EF4-FFF2-40B4-BE49-F238E27FC236}">
                  <a16:creationId xmlns:a16="http://schemas.microsoft.com/office/drawing/2014/main" id="{F50B80B3-3489-8F84-2FA7-E39C834F210E}"/>
                </a:ext>
              </a:extLst>
            </p:cNvPr>
            <p:cNvSpPr/>
            <p:nvPr/>
          </p:nvSpPr>
          <p:spPr>
            <a:xfrm flipV="1">
              <a:off x="912992" y="510697"/>
              <a:ext cx="281640" cy="37244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5" name="Straight Connector 587">
              <a:extLst>
                <a:ext uri="{FF2B5EF4-FFF2-40B4-BE49-F238E27FC236}">
                  <a16:creationId xmlns:a16="http://schemas.microsoft.com/office/drawing/2014/main" id="{E96C8E68-61A4-5BFF-A6EA-0556947B2D13}"/>
                </a:ext>
              </a:extLst>
            </p:cNvPr>
            <p:cNvSpPr/>
            <p:nvPr/>
          </p:nvSpPr>
          <p:spPr>
            <a:xfrm>
              <a:off x="914613" y="137120"/>
              <a:ext cx="281823" cy="7465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6" name="Straight Connector 588">
              <a:extLst>
                <a:ext uri="{FF2B5EF4-FFF2-40B4-BE49-F238E27FC236}">
                  <a16:creationId xmlns:a16="http://schemas.microsoft.com/office/drawing/2014/main" id="{96378A10-87FC-D71F-DAF2-0F6B76E5DE70}"/>
                </a:ext>
              </a:extLst>
            </p:cNvPr>
            <p:cNvSpPr/>
            <p:nvPr/>
          </p:nvSpPr>
          <p:spPr>
            <a:xfrm>
              <a:off x="914637" y="133406"/>
              <a:ext cx="281767" cy="112492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7" name="Straight Connector 589">
              <a:extLst>
                <a:ext uri="{FF2B5EF4-FFF2-40B4-BE49-F238E27FC236}">
                  <a16:creationId xmlns:a16="http://schemas.microsoft.com/office/drawing/2014/main" id="{5FAA5F04-02F3-2324-1889-3E00362509B0}"/>
                </a:ext>
              </a:extLst>
            </p:cNvPr>
            <p:cNvSpPr/>
            <p:nvPr/>
          </p:nvSpPr>
          <p:spPr>
            <a:xfrm>
              <a:off x="913698" y="510292"/>
              <a:ext cx="281642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8" name="Straight Connector 590">
              <a:extLst>
                <a:ext uri="{FF2B5EF4-FFF2-40B4-BE49-F238E27FC236}">
                  <a16:creationId xmlns:a16="http://schemas.microsoft.com/office/drawing/2014/main" id="{1B6DFE55-D90A-7BC4-BCEB-6BBC2D5AE728}"/>
                </a:ext>
              </a:extLst>
            </p:cNvPr>
            <p:cNvSpPr/>
            <p:nvPr/>
          </p:nvSpPr>
          <p:spPr>
            <a:xfrm>
              <a:off x="912952" y="509024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89" name="Straight Connector 591">
              <a:extLst>
                <a:ext uri="{FF2B5EF4-FFF2-40B4-BE49-F238E27FC236}">
                  <a16:creationId xmlns:a16="http://schemas.microsoft.com/office/drawing/2014/main" id="{0BA011F5-2629-0B1C-840E-2B9F67BD2440}"/>
                </a:ext>
              </a:extLst>
            </p:cNvPr>
            <p:cNvSpPr/>
            <p:nvPr/>
          </p:nvSpPr>
          <p:spPr>
            <a:xfrm>
              <a:off x="914461" y="884193"/>
              <a:ext cx="282099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0" name="Straight Connector 592">
              <a:extLst>
                <a:ext uri="{FF2B5EF4-FFF2-40B4-BE49-F238E27FC236}">
                  <a16:creationId xmlns:a16="http://schemas.microsoft.com/office/drawing/2014/main" id="{986B404F-7A4B-343A-6ADF-CF8FBFD85E6C}"/>
                </a:ext>
              </a:extLst>
            </p:cNvPr>
            <p:cNvSpPr/>
            <p:nvPr/>
          </p:nvSpPr>
          <p:spPr>
            <a:xfrm flipH="1">
              <a:off x="910170" y="882304"/>
              <a:ext cx="286395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1" name="Straight Connector 524">
              <a:extLst>
                <a:ext uri="{FF2B5EF4-FFF2-40B4-BE49-F238E27FC236}">
                  <a16:creationId xmlns:a16="http://schemas.microsoft.com/office/drawing/2014/main" id="{E7697F7A-3A9C-8F84-D8DB-B4DC3D9D75E3}"/>
                </a:ext>
              </a:extLst>
            </p:cNvPr>
            <p:cNvSpPr/>
            <p:nvPr/>
          </p:nvSpPr>
          <p:spPr>
            <a:xfrm flipH="1" flipV="1">
              <a:off x="1660941" y="51008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2" name="Straight Connector 541">
              <a:extLst>
                <a:ext uri="{FF2B5EF4-FFF2-40B4-BE49-F238E27FC236}">
                  <a16:creationId xmlns:a16="http://schemas.microsoft.com/office/drawing/2014/main" id="{84042B51-B8DC-9242-E898-BA727898ED8E}"/>
                </a:ext>
              </a:extLst>
            </p:cNvPr>
            <p:cNvSpPr/>
            <p:nvPr/>
          </p:nvSpPr>
          <p:spPr>
            <a:xfrm flipH="1">
              <a:off x="1660941" y="883292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3" name="Straight Connector 554">
              <a:extLst>
                <a:ext uri="{FF2B5EF4-FFF2-40B4-BE49-F238E27FC236}">
                  <a16:creationId xmlns:a16="http://schemas.microsoft.com/office/drawing/2014/main" id="{3F14D742-0160-B7B8-8538-54949F3BC4BE}"/>
                </a:ext>
              </a:extLst>
            </p:cNvPr>
            <p:cNvSpPr/>
            <p:nvPr/>
          </p:nvSpPr>
          <p:spPr>
            <a:xfrm flipH="1">
              <a:off x="1660941" y="1256504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4" name="Straight Connector 567">
              <a:extLst>
                <a:ext uri="{FF2B5EF4-FFF2-40B4-BE49-F238E27FC236}">
                  <a16:creationId xmlns:a16="http://schemas.microsoft.com/office/drawing/2014/main" id="{5D6D4601-7C14-DD05-62F0-ADC9D5D064BD}"/>
                </a:ext>
              </a:extLst>
            </p:cNvPr>
            <p:cNvSpPr/>
            <p:nvPr/>
          </p:nvSpPr>
          <p:spPr>
            <a:xfrm flipV="1">
              <a:off x="1664639" y="138324"/>
              <a:ext cx="627988" cy="37005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5" name="Straight Connector 568">
              <a:extLst>
                <a:ext uri="{FF2B5EF4-FFF2-40B4-BE49-F238E27FC236}">
                  <a16:creationId xmlns:a16="http://schemas.microsoft.com/office/drawing/2014/main" id="{C75637BF-F9AB-850D-094B-F3915DBA79D7}"/>
                </a:ext>
              </a:extLst>
            </p:cNvPr>
            <p:cNvSpPr/>
            <p:nvPr/>
          </p:nvSpPr>
          <p:spPr>
            <a:xfrm flipV="1">
              <a:off x="1660941" y="13686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6" name="Straight Connector 569">
              <a:extLst>
                <a:ext uri="{FF2B5EF4-FFF2-40B4-BE49-F238E27FC236}">
                  <a16:creationId xmlns:a16="http://schemas.microsoft.com/office/drawing/2014/main" id="{3353A3A6-BD84-479E-1E7F-51B5BFB73566}"/>
                </a:ext>
              </a:extLst>
            </p:cNvPr>
            <p:cNvSpPr/>
            <p:nvPr/>
          </p:nvSpPr>
          <p:spPr>
            <a:xfrm flipV="1">
              <a:off x="1660941" y="510041"/>
              <a:ext cx="631685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7" name="Straight Connector 570">
              <a:extLst>
                <a:ext uri="{FF2B5EF4-FFF2-40B4-BE49-F238E27FC236}">
                  <a16:creationId xmlns:a16="http://schemas.microsoft.com/office/drawing/2014/main" id="{B523B03E-277D-C76C-E726-6A80F78D73A1}"/>
                </a:ext>
              </a:extLst>
            </p:cNvPr>
            <p:cNvSpPr/>
            <p:nvPr/>
          </p:nvSpPr>
          <p:spPr>
            <a:xfrm flipV="1">
              <a:off x="1660941" y="883292"/>
              <a:ext cx="631685" cy="37421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8" name="Straight Connector 571">
              <a:extLst>
                <a:ext uri="{FF2B5EF4-FFF2-40B4-BE49-F238E27FC236}">
                  <a16:creationId xmlns:a16="http://schemas.microsoft.com/office/drawing/2014/main" id="{DF521ED2-BEBA-BEC9-C3A8-5E43CC1584AB}"/>
                </a:ext>
              </a:extLst>
            </p:cNvPr>
            <p:cNvSpPr/>
            <p:nvPr/>
          </p:nvSpPr>
          <p:spPr>
            <a:xfrm flipV="1">
              <a:off x="1660941" y="510081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99" name="Straight Connector 572">
              <a:extLst>
                <a:ext uri="{FF2B5EF4-FFF2-40B4-BE49-F238E27FC236}">
                  <a16:creationId xmlns:a16="http://schemas.microsoft.com/office/drawing/2014/main" id="{A0C59CF8-2EFB-E791-78C8-B1FDC74E5B69}"/>
                </a:ext>
              </a:extLst>
            </p:cNvPr>
            <p:cNvSpPr/>
            <p:nvPr/>
          </p:nvSpPr>
          <p:spPr>
            <a:xfrm flipV="1">
              <a:off x="1660941" y="136829"/>
              <a:ext cx="631686" cy="11210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0" name="Straight Connector 577">
              <a:extLst>
                <a:ext uri="{FF2B5EF4-FFF2-40B4-BE49-F238E27FC236}">
                  <a16:creationId xmlns:a16="http://schemas.microsoft.com/office/drawing/2014/main" id="{DB44B907-0B83-0EA6-82D9-D7EDABCBE150}"/>
                </a:ext>
              </a:extLst>
            </p:cNvPr>
            <p:cNvSpPr/>
            <p:nvPr/>
          </p:nvSpPr>
          <p:spPr>
            <a:xfrm flipH="1" flipV="1">
              <a:off x="1663590" y="13630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1" name="Straight Connector 578">
              <a:extLst>
                <a:ext uri="{FF2B5EF4-FFF2-40B4-BE49-F238E27FC236}">
                  <a16:creationId xmlns:a16="http://schemas.microsoft.com/office/drawing/2014/main" id="{9966A740-FB94-51BA-17F2-861DABCD1775}"/>
                </a:ext>
              </a:extLst>
            </p:cNvPr>
            <p:cNvSpPr/>
            <p:nvPr/>
          </p:nvSpPr>
          <p:spPr>
            <a:xfrm>
              <a:off x="1663590" y="139056"/>
              <a:ext cx="630085" cy="7449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2" name="Straight Connector 579">
              <a:extLst>
                <a:ext uri="{FF2B5EF4-FFF2-40B4-BE49-F238E27FC236}">
                  <a16:creationId xmlns:a16="http://schemas.microsoft.com/office/drawing/2014/main" id="{2187C209-1C18-1AE0-AF21-940A4EA4C2B8}"/>
                </a:ext>
              </a:extLst>
            </p:cNvPr>
            <p:cNvSpPr/>
            <p:nvPr/>
          </p:nvSpPr>
          <p:spPr>
            <a:xfrm>
              <a:off x="1663590" y="136307"/>
              <a:ext cx="630085" cy="11207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3" name="Straight Connector 580">
              <a:extLst>
                <a:ext uri="{FF2B5EF4-FFF2-40B4-BE49-F238E27FC236}">
                  <a16:creationId xmlns:a16="http://schemas.microsoft.com/office/drawing/2014/main" id="{F860F104-11AC-DF37-3A6E-74EEF35CADEB}"/>
                </a:ext>
              </a:extLst>
            </p:cNvPr>
            <p:cNvSpPr/>
            <p:nvPr/>
          </p:nvSpPr>
          <p:spPr>
            <a:xfrm flipH="1" flipV="1">
              <a:off x="1661907" y="51073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4" name="Straight Connector 581">
              <a:extLst>
                <a:ext uri="{FF2B5EF4-FFF2-40B4-BE49-F238E27FC236}">
                  <a16:creationId xmlns:a16="http://schemas.microsoft.com/office/drawing/2014/main" id="{76E36BB4-0162-EA18-6DA3-EA3B6AE31F20}"/>
                </a:ext>
              </a:extLst>
            </p:cNvPr>
            <p:cNvSpPr/>
            <p:nvPr/>
          </p:nvSpPr>
          <p:spPr>
            <a:xfrm flipH="1" flipV="1">
              <a:off x="1660942" y="88329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5" name="Straight Connector 582">
              <a:extLst>
                <a:ext uri="{FF2B5EF4-FFF2-40B4-BE49-F238E27FC236}">
                  <a16:creationId xmlns:a16="http://schemas.microsoft.com/office/drawing/2014/main" id="{53B6A1B9-B294-0AE0-C77D-A21DFB2C7E28}"/>
                </a:ext>
              </a:extLst>
            </p:cNvPr>
            <p:cNvSpPr/>
            <p:nvPr/>
          </p:nvSpPr>
          <p:spPr>
            <a:xfrm flipH="1" flipV="1">
              <a:off x="1662344" y="50902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6" name="Straight Connector 523">
              <a:extLst>
                <a:ext uri="{FF2B5EF4-FFF2-40B4-BE49-F238E27FC236}">
                  <a16:creationId xmlns:a16="http://schemas.microsoft.com/office/drawing/2014/main" id="{0D1276BA-00CF-8EF7-8265-03619EE621A3}"/>
                </a:ext>
              </a:extLst>
            </p:cNvPr>
            <p:cNvSpPr/>
            <p:nvPr/>
          </p:nvSpPr>
          <p:spPr>
            <a:xfrm flipH="1">
              <a:off x="128330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7" name="Straight Connector 540">
              <a:extLst>
                <a:ext uri="{FF2B5EF4-FFF2-40B4-BE49-F238E27FC236}">
                  <a16:creationId xmlns:a16="http://schemas.microsoft.com/office/drawing/2014/main" id="{94B14A12-3A68-33F6-C44B-438196E1A4FE}"/>
                </a:ext>
              </a:extLst>
            </p:cNvPr>
            <p:cNvSpPr/>
            <p:nvPr/>
          </p:nvSpPr>
          <p:spPr>
            <a:xfrm flipH="1">
              <a:off x="128489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8" name="Straight Connector 553">
              <a:extLst>
                <a:ext uri="{FF2B5EF4-FFF2-40B4-BE49-F238E27FC236}">
                  <a16:creationId xmlns:a16="http://schemas.microsoft.com/office/drawing/2014/main" id="{D9A25C90-EC88-71E1-9D16-BFFBBB07D0A0}"/>
                </a:ext>
              </a:extLst>
            </p:cNvPr>
            <p:cNvSpPr/>
            <p:nvPr/>
          </p:nvSpPr>
          <p:spPr>
            <a:xfrm flipH="1">
              <a:off x="128160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09" name="Straight Connector 565">
              <a:extLst>
                <a:ext uri="{FF2B5EF4-FFF2-40B4-BE49-F238E27FC236}">
                  <a16:creationId xmlns:a16="http://schemas.microsoft.com/office/drawing/2014/main" id="{6600AF25-6033-5C5B-DA97-23B74F44F5BE}"/>
                </a:ext>
              </a:extLst>
            </p:cNvPr>
            <p:cNvSpPr/>
            <p:nvPr/>
          </p:nvSpPr>
          <p:spPr>
            <a:xfrm flipV="1">
              <a:off x="128489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0" name="Straight Connector 566">
              <a:extLst>
                <a:ext uri="{FF2B5EF4-FFF2-40B4-BE49-F238E27FC236}">
                  <a16:creationId xmlns:a16="http://schemas.microsoft.com/office/drawing/2014/main" id="{84A63F7A-E3E9-3DE4-EF29-93FE61CF1C27}"/>
                </a:ext>
              </a:extLst>
            </p:cNvPr>
            <p:cNvSpPr/>
            <p:nvPr/>
          </p:nvSpPr>
          <p:spPr>
            <a:xfrm flipV="1">
              <a:off x="1286521" y="511509"/>
              <a:ext cx="281820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1" name="Straight Connector 583">
              <a:extLst>
                <a:ext uri="{FF2B5EF4-FFF2-40B4-BE49-F238E27FC236}">
                  <a16:creationId xmlns:a16="http://schemas.microsoft.com/office/drawing/2014/main" id="{B2D279E1-20FC-76AA-C8E7-55D4D4594F19}"/>
                </a:ext>
              </a:extLst>
            </p:cNvPr>
            <p:cNvSpPr/>
            <p:nvPr/>
          </p:nvSpPr>
          <p:spPr>
            <a:xfrm flipV="1">
              <a:off x="1286521" y="137359"/>
              <a:ext cx="281948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2" name="Straight Connector 584">
              <a:extLst>
                <a:ext uri="{FF2B5EF4-FFF2-40B4-BE49-F238E27FC236}">
                  <a16:creationId xmlns:a16="http://schemas.microsoft.com/office/drawing/2014/main" id="{D443CFDF-0526-BC6D-6A25-688681124EF6}"/>
                </a:ext>
              </a:extLst>
            </p:cNvPr>
            <p:cNvSpPr/>
            <p:nvPr/>
          </p:nvSpPr>
          <p:spPr>
            <a:xfrm flipV="1">
              <a:off x="128489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3" name="Straight Connector 585">
              <a:extLst>
                <a:ext uri="{FF2B5EF4-FFF2-40B4-BE49-F238E27FC236}">
                  <a16:creationId xmlns:a16="http://schemas.microsoft.com/office/drawing/2014/main" id="{B0B875A9-01A5-2618-AD4D-673CE1A820F9}"/>
                </a:ext>
              </a:extLst>
            </p:cNvPr>
            <p:cNvSpPr/>
            <p:nvPr/>
          </p:nvSpPr>
          <p:spPr>
            <a:xfrm>
              <a:off x="128641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4" name="Straight Connector 586">
              <a:extLst>
                <a:ext uri="{FF2B5EF4-FFF2-40B4-BE49-F238E27FC236}">
                  <a16:creationId xmlns:a16="http://schemas.microsoft.com/office/drawing/2014/main" id="{96F28A83-E01A-93E8-CB0B-2282C1010E25}"/>
                </a:ext>
              </a:extLst>
            </p:cNvPr>
            <p:cNvSpPr/>
            <p:nvPr/>
          </p:nvSpPr>
          <p:spPr>
            <a:xfrm flipV="1">
              <a:off x="1284898" y="510570"/>
              <a:ext cx="281639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5" name="Straight Connector 587">
              <a:extLst>
                <a:ext uri="{FF2B5EF4-FFF2-40B4-BE49-F238E27FC236}">
                  <a16:creationId xmlns:a16="http://schemas.microsoft.com/office/drawing/2014/main" id="{A5AF4B07-DE71-D2E9-FDA5-C4CDD6E83D27}"/>
                </a:ext>
              </a:extLst>
            </p:cNvPr>
            <p:cNvSpPr/>
            <p:nvPr/>
          </p:nvSpPr>
          <p:spPr>
            <a:xfrm>
              <a:off x="128651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6" name="Straight Connector 588">
              <a:extLst>
                <a:ext uri="{FF2B5EF4-FFF2-40B4-BE49-F238E27FC236}">
                  <a16:creationId xmlns:a16="http://schemas.microsoft.com/office/drawing/2014/main" id="{4F78CDE7-7A34-9DD2-21F8-8D3553584A7C}"/>
                </a:ext>
              </a:extLst>
            </p:cNvPr>
            <p:cNvSpPr/>
            <p:nvPr/>
          </p:nvSpPr>
          <p:spPr>
            <a:xfrm>
              <a:off x="1286543" y="133280"/>
              <a:ext cx="281767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7" name="Straight Connector 589">
              <a:extLst>
                <a:ext uri="{FF2B5EF4-FFF2-40B4-BE49-F238E27FC236}">
                  <a16:creationId xmlns:a16="http://schemas.microsoft.com/office/drawing/2014/main" id="{CD7D3185-3DA7-AC79-B374-8BF0E620D52E}"/>
                </a:ext>
              </a:extLst>
            </p:cNvPr>
            <p:cNvSpPr/>
            <p:nvPr/>
          </p:nvSpPr>
          <p:spPr>
            <a:xfrm>
              <a:off x="128560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8" name="Straight Connector 590">
              <a:extLst>
                <a:ext uri="{FF2B5EF4-FFF2-40B4-BE49-F238E27FC236}">
                  <a16:creationId xmlns:a16="http://schemas.microsoft.com/office/drawing/2014/main" id="{569A4DF4-D312-8571-44AB-6F339D4C06C1}"/>
                </a:ext>
              </a:extLst>
            </p:cNvPr>
            <p:cNvSpPr/>
            <p:nvPr/>
          </p:nvSpPr>
          <p:spPr>
            <a:xfrm>
              <a:off x="1284858" y="508897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19" name="Straight Connector 591">
              <a:extLst>
                <a:ext uri="{FF2B5EF4-FFF2-40B4-BE49-F238E27FC236}">
                  <a16:creationId xmlns:a16="http://schemas.microsoft.com/office/drawing/2014/main" id="{DFC22F3C-39FD-685D-9222-8FF7CC5FCA7C}"/>
                </a:ext>
              </a:extLst>
            </p:cNvPr>
            <p:cNvSpPr/>
            <p:nvPr/>
          </p:nvSpPr>
          <p:spPr>
            <a:xfrm>
              <a:off x="128636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20" name="Straight Connector 592">
              <a:extLst>
                <a:ext uri="{FF2B5EF4-FFF2-40B4-BE49-F238E27FC236}">
                  <a16:creationId xmlns:a16="http://schemas.microsoft.com/office/drawing/2014/main" id="{341532F7-E857-A9B4-45CC-55F70316F93D}"/>
                </a:ext>
              </a:extLst>
            </p:cNvPr>
            <p:cNvSpPr/>
            <p:nvPr/>
          </p:nvSpPr>
          <p:spPr>
            <a:xfrm flipH="1">
              <a:off x="128207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21" name="Oval 502">
              <a:extLst>
                <a:ext uri="{FF2B5EF4-FFF2-40B4-BE49-F238E27FC236}">
                  <a16:creationId xmlns:a16="http://schemas.microsoft.com/office/drawing/2014/main" id="{57D048D1-9C5D-3E0F-4F8B-463EF6184CB3}"/>
                </a:ext>
              </a:extLst>
            </p:cNvPr>
            <p:cNvSpPr/>
            <p:nvPr/>
          </p:nvSpPr>
          <p:spPr>
            <a:xfrm flipH="1">
              <a:off x="1561828" y="79336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2" name="Oval 509">
              <a:extLst>
                <a:ext uri="{FF2B5EF4-FFF2-40B4-BE49-F238E27FC236}">
                  <a16:creationId xmlns:a16="http://schemas.microsoft.com/office/drawing/2014/main" id="{79037B4B-A0AD-66F5-1AC1-25EF27EC15C0}"/>
                </a:ext>
              </a:extLst>
            </p:cNvPr>
            <p:cNvSpPr/>
            <p:nvPr/>
          </p:nvSpPr>
          <p:spPr>
            <a:xfrm flipH="1">
              <a:off x="1492619" y="383803"/>
              <a:ext cx="255973" cy="2559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3" name="Oval 545">
              <a:extLst>
                <a:ext uri="{FF2B5EF4-FFF2-40B4-BE49-F238E27FC236}">
                  <a16:creationId xmlns:a16="http://schemas.microsoft.com/office/drawing/2014/main" id="{A9650EC0-746F-0C0B-4590-224B9932CBD1}"/>
                </a:ext>
              </a:extLst>
            </p:cNvPr>
            <p:cNvSpPr/>
            <p:nvPr/>
          </p:nvSpPr>
          <p:spPr>
            <a:xfrm flipH="1">
              <a:off x="1527230" y="1145599"/>
              <a:ext cx="202338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4" name="Oval 532">
              <a:extLst>
                <a:ext uri="{FF2B5EF4-FFF2-40B4-BE49-F238E27FC236}">
                  <a16:creationId xmlns:a16="http://schemas.microsoft.com/office/drawing/2014/main" id="{5B8F49F1-D6BE-D7BD-A5AE-3C5A4AB82387}"/>
                </a:ext>
              </a:extLst>
            </p:cNvPr>
            <p:cNvSpPr/>
            <p:nvPr/>
          </p:nvSpPr>
          <p:spPr>
            <a:xfrm flipH="1">
              <a:off x="1549869" y="812807"/>
              <a:ext cx="141473" cy="1414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5" name="Oval 503">
              <a:extLst>
                <a:ext uri="{FF2B5EF4-FFF2-40B4-BE49-F238E27FC236}">
                  <a16:creationId xmlns:a16="http://schemas.microsoft.com/office/drawing/2014/main" id="{65D75227-F15B-C515-5891-2225B2ED1BD6}"/>
                </a:ext>
              </a:extLst>
            </p:cNvPr>
            <p:cNvSpPr/>
            <p:nvPr/>
          </p:nvSpPr>
          <p:spPr>
            <a:xfrm flipH="1">
              <a:off x="1156548" y="55690"/>
              <a:ext cx="164847" cy="16484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6" name="Oval 510">
              <a:extLst>
                <a:ext uri="{FF2B5EF4-FFF2-40B4-BE49-F238E27FC236}">
                  <a16:creationId xmlns:a16="http://schemas.microsoft.com/office/drawing/2014/main" id="{DA6F1D63-9C77-A1EF-7EE0-DB142DA20A70}"/>
                </a:ext>
              </a:extLst>
            </p:cNvPr>
            <p:cNvSpPr/>
            <p:nvPr/>
          </p:nvSpPr>
          <p:spPr>
            <a:xfrm flipH="1">
              <a:off x="1161012" y="433829"/>
              <a:ext cx="155920" cy="15592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7" name="Oval 533">
              <a:extLst>
                <a:ext uri="{FF2B5EF4-FFF2-40B4-BE49-F238E27FC236}">
                  <a16:creationId xmlns:a16="http://schemas.microsoft.com/office/drawing/2014/main" id="{DC0DA767-6A7A-A008-FB6C-86904037AB4E}"/>
                </a:ext>
              </a:extLst>
            </p:cNvPr>
            <p:cNvSpPr/>
            <p:nvPr/>
          </p:nvSpPr>
          <p:spPr>
            <a:xfrm flipH="1">
              <a:off x="1135311" y="783444"/>
              <a:ext cx="200198" cy="20019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8" name="Oval 546">
              <a:extLst>
                <a:ext uri="{FF2B5EF4-FFF2-40B4-BE49-F238E27FC236}">
                  <a16:creationId xmlns:a16="http://schemas.microsoft.com/office/drawing/2014/main" id="{F799F78D-57DA-6B3F-6EDB-BAB94B81FD33}"/>
                </a:ext>
              </a:extLst>
            </p:cNvPr>
            <p:cNvSpPr/>
            <p:nvPr/>
          </p:nvSpPr>
          <p:spPr>
            <a:xfrm flipH="1">
              <a:off x="1180194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29" name="Oval 547">
              <a:extLst>
                <a:ext uri="{FF2B5EF4-FFF2-40B4-BE49-F238E27FC236}">
                  <a16:creationId xmlns:a16="http://schemas.microsoft.com/office/drawing/2014/main" id="{6E0475AF-F04F-3419-0D19-D78B17C58087}"/>
                </a:ext>
              </a:extLst>
            </p:cNvPr>
            <p:cNvSpPr/>
            <p:nvPr/>
          </p:nvSpPr>
          <p:spPr>
            <a:xfrm flipH="1">
              <a:off x="766315" y="1150627"/>
              <a:ext cx="192280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0" name="Oval 504">
              <a:extLst>
                <a:ext uri="{FF2B5EF4-FFF2-40B4-BE49-F238E27FC236}">
                  <a16:creationId xmlns:a16="http://schemas.microsoft.com/office/drawing/2014/main" id="{AD26F288-7FB1-61C5-2ACC-733F693470D3}"/>
                </a:ext>
              </a:extLst>
            </p:cNvPr>
            <p:cNvSpPr/>
            <p:nvPr/>
          </p:nvSpPr>
          <p:spPr>
            <a:xfrm flipH="1">
              <a:off x="728715" y="4374"/>
              <a:ext cx="267480" cy="267480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1" name="Oval 511">
              <a:extLst>
                <a:ext uri="{FF2B5EF4-FFF2-40B4-BE49-F238E27FC236}">
                  <a16:creationId xmlns:a16="http://schemas.microsoft.com/office/drawing/2014/main" id="{06329510-E923-2B0D-7A3C-1FCAAEABA896}"/>
                </a:ext>
              </a:extLst>
            </p:cNvPr>
            <p:cNvSpPr/>
            <p:nvPr/>
          </p:nvSpPr>
          <p:spPr>
            <a:xfrm flipH="1">
              <a:off x="803578" y="453209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2" name="Oval 534">
              <a:extLst>
                <a:ext uri="{FF2B5EF4-FFF2-40B4-BE49-F238E27FC236}">
                  <a16:creationId xmlns:a16="http://schemas.microsoft.com/office/drawing/2014/main" id="{38CE1374-5121-59D4-9C33-A16BE5FBA499}"/>
                </a:ext>
              </a:extLst>
            </p:cNvPr>
            <p:cNvSpPr/>
            <p:nvPr/>
          </p:nvSpPr>
          <p:spPr>
            <a:xfrm flipH="1">
              <a:off x="772293" y="802177"/>
              <a:ext cx="162733" cy="162733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3" name="Oval 505">
              <a:extLst>
                <a:ext uri="{FF2B5EF4-FFF2-40B4-BE49-F238E27FC236}">
                  <a16:creationId xmlns:a16="http://schemas.microsoft.com/office/drawing/2014/main" id="{7C22AB1C-50D6-1F19-2A18-BBECC8F682BE}"/>
                </a:ext>
              </a:extLst>
            </p:cNvPr>
            <p:cNvSpPr/>
            <p:nvPr/>
          </p:nvSpPr>
          <p:spPr>
            <a:xfrm flipH="1">
              <a:off x="62647" y="68296"/>
              <a:ext cx="152115" cy="152115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4" name="Oval 512">
              <a:extLst>
                <a:ext uri="{FF2B5EF4-FFF2-40B4-BE49-F238E27FC236}">
                  <a16:creationId xmlns:a16="http://schemas.microsoft.com/office/drawing/2014/main" id="{15659E50-6F7D-CB35-2E02-5A4218890A84}"/>
                </a:ext>
              </a:extLst>
            </p:cNvPr>
            <p:cNvSpPr/>
            <p:nvPr/>
          </p:nvSpPr>
          <p:spPr>
            <a:xfrm flipH="1">
              <a:off x="37535" y="409163"/>
              <a:ext cx="202339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5" name="Oval 535">
              <a:extLst>
                <a:ext uri="{FF2B5EF4-FFF2-40B4-BE49-F238E27FC236}">
                  <a16:creationId xmlns:a16="http://schemas.microsoft.com/office/drawing/2014/main" id="{183E5CFB-D084-35AA-191B-7C2D2C9FF859}"/>
                </a:ext>
              </a:extLst>
            </p:cNvPr>
            <p:cNvSpPr/>
            <p:nvPr/>
          </p:nvSpPr>
          <p:spPr>
            <a:xfrm flipH="1">
              <a:off x="79927" y="824765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6" name="Oval 548">
              <a:extLst>
                <a:ext uri="{FF2B5EF4-FFF2-40B4-BE49-F238E27FC236}">
                  <a16:creationId xmlns:a16="http://schemas.microsoft.com/office/drawing/2014/main" id="{E194B452-C7FD-AC30-FA86-959244C4E34C}"/>
                </a:ext>
              </a:extLst>
            </p:cNvPr>
            <p:cNvSpPr/>
            <p:nvPr/>
          </p:nvSpPr>
          <p:spPr>
            <a:xfrm flipH="1">
              <a:off x="4965" y="1113028"/>
              <a:ext cx="267479" cy="267480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37" name="Straight Connector 523">
              <a:extLst>
                <a:ext uri="{FF2B5EF4-FFF2-40B4-BE49-F238E27FC236}">
                  <a16:creationId xmlns:a16="http://schemas.microsoft.com/office/drawing/2014/main" id="{CFE7CC94-1688-17C0-CD2A-84840B7B2B9F}"/>
                </a:ext>
              </a:extLst>
            </p:cNvPr>
            <p:cNvSpPr/>
            <p:nvPr/>
          </p:nvSpPr>
          <p:spPr>
            <a:xfrm flipH="1">
              <a:off x="237999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38" name="Straight Connector 540">
              <a:extLst>
                <a:ext uri="{FF2B5EF4-FFF2-40B4-BE49-F238E27FC236}">
                  <a16:creationId xmlns:a16="http://schemas.microsoft.com/office/drawing/2014/main" id="{F9DA9827-A84F-3241-54DF-F6D6502988D0}"/>
                </a:ext>
              </a:extLst>
            </p:cNvPr>
            <p:cNvSpPr/>
            <p:nvPr/>
          </p:nvSpPr>
          <p:spPr>
            <a:xfrm flipH="1">
              <a:off x="238158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39" name="Straight Connector 553">
              <a:extLst>
                <a:ext uri="{FF2B5EF4-FFF2-40B4-BE49-F238E27FC236}">
                  <a16:creationId xmlns:a16="http://schemas.microsoft.com/office/drawing/2014/main" id="{19B8EEDF-A6CF-9F59-64BA-004A6AFBE4CE}"/>
                </a:ext>
              </a:extLst>
            </p:cNvPr>
            <p:cNvSpPr/>
            <p:nvPr/>
          </p:nvSpPr>
          <p:spPr>
            <a:xfrm flipH="1">
              <a:off x="237829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0" name="Straight Connector 565">
              <a:extLst>
                <a:ext uri="{FF2B5EF4-FFF2-40B4-BE49-F238E27FC236}">
                  <a16:creationId xmlns:a16="http://schemas.microsoft.com/office/drawing/2014/main" id="{928367C4-F4BA-6690-F070-3D06F5AAF0DA}"/>
                </a:ext>
              </a:extLst>
            </p:cNvPr>
            <p:cNvSpPr/>
            <p:nvPr/>
          </p:nvSpPr>
          <p:spPr>
            <a:xfrm flipV="1">
              <a:off x="238158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1" name="Straight Connector 566">
              <a:extLst>
                <a:ext uri="{FF2B5EF4-FFF2-40B4-BE49-F238E27FC236}">
                  <a16:creationId xmlns:a16="http://schemas.microsoft.com/office/drawing/2014/main" id="{7A5A5906-EAFD-ECAB-AF7C-87C1164FA14B}"/>
                </a:ext>
              </a:extLst>
            </p:cNvPr>
            <p:cNvSpPr/>
            <p:nvPr/>
          </p:nvSpPr>
          <p:spPr>
            <a:xfrm flipV="1">
              <a:off x="2383211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2" name="Straight Connector 583">
              <a:extLst>
                <a:ext uri="{FF2B5EF4-FFF2-40B4-BE49-F238E27FC236}">
                  <a16:creationId xmlns:a16="http://schemas.microsoft.com/office/drawing/2014/main" id="{150EFD57-9CCD-6481-7D53-EEDAEA859D6A}"/>
                </a:ext>
              </a:extLst>
            </p:cNvPr>
            <p:cNvSpPr/>
            <p:nvPr/>
          </p:nvSpPr>
          <p:spPr>
            <a:xfrm flipV="1">
              <a:off x="2383211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3" name="Straight Connector 584">
              <a:extLst>
                <a:ext uri="{FF2B5EF4-FFF2-40B4-BE49-F238E27FC236}">
                  <a16:creationId xmlns:a16="http://schemas.microsoft.com/office/drawing/2014/main" id="{4406F0C7-2D04-9BF5-45FA-0A52B55E14AE}"/>
                </a:ext>
              </a:extLst>
            </p:cNvPr>
            <p:cNvSpPr/>
            <p:nvPr/>
          </p:nvSpPr>
          <p:spPr>
            <a:xfrm flipV="1">
              <a:off x="238158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4" name="Straight Connector 585">
              <a:extLst>
                <a:ext uri="{FF2B5EF4-FFF2-40B4-BE49-F238E27FC236}">
                  <a16:creationId xmlns:a16="http://schemas.microsoft.com/office/drawing/2014/main" id="{D34FA228-F9EA-EF4A-4387-6EFC21320092}"/>
                </a:ext>
              </a:extLst>
            </p:cNvPr>
            <p:cNvSpPr/>
            <p:nvPr/>
          </p:nvSpPr>
          <p:spPr>
            <a:xfrm>
              <a:off x="238310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5" name="Straight Connector 586">
              <a:extLst>
                <a:ext uri="{FF2B5EF4-FFF2-40B4-BE49-F238E27FC236}">
                  <a16:creationId xmlns:a16="http://schemas.microsoft.com/office/drawing/2014/main" id="{48B6B042-25DE-AE84-8AE5-3097B8760CB7}"/>
                </a:ext>
              </a:extLst>
            </p:cNvPr>
            <p:cNvSpPr/>
            <p:nvPr/>
          </p:nvSpPr>
          <p:spPr>
            <a:xfrm flipV="1">
              <a:off x="2381588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6" name="Straight Connector 587">
              <a:extLst>
                <a:ext uri="{FF2B5EF4-FFF2-40B4-BE49-F238E27FC236}">
                  <a16:creationId xmlns:a16="http://schemas.microsoft.com/office/drawing/2014/main" id="{F39B8B5D-12BF-D52E-4B6B-41836D7405B1}"/>
                </a:ext>
              </a:extLst>
            </p:cNvPr>
            <p:cNvSpPr/>
            <p:nvPr/>
          </p:nvSpPr>
          <p:spPr>
            <a:xfrm>
              <a:off x="238320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7" name="Straight Connector 588">
              <a:extLst>
                <a:ext uri="{FF2B5EF4-FFF2-40B4-BE49-F238E27FC236}">
                  <a16:creationId xmlns:a16="http://schemas.microsoft.com/office/drawing/2014/main" id="{0C52DE72-31A5-1DA7-C608-44E534C172B3}"/>
                </a:ext>
              </a:extLst>
            </p:cNvPr>
            <p:cNvSpPr/>
            <p:nvPr/>
          </p:nvSpPr>
          <p:spPr>
            <a:xfrm>
              <a:off x="2383233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8" name="Straight Connector 589">
              <a:extLst>
                <a:ext uri="{FF2B5EF4-FFF2-40B4-BE49-F238E27FC236}">
                  <a16:creationId xmlns:a16="http://schemas.microsoft.com/office/drawing/2014/main" id="{3F1302D6-4DA4-1690-8CFA-B5603FD69B19}"/>
                </a:ext>
              </a:extLst>
            </p:cNvPr>
            <p:cNvSpPr/>
            <p:nvPr/>
          </p:nvSpPr>
          <p:spPr>
            <a:xfrm>
              <a:off x="238229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49" name="Straight Connector 590">
              <a:extLst>
                <a:ext uri="{FF2B5EF4-FFF2-40B4-BE49-F238E27FC236}">
                  <a16:creationId xmlns:a16="http://schemas.microsoft.com/office/drawing/2014/main" id="{CBC60F74-8D2B-CBB7-1846-3C69C0E7AE42}"/>
                </a:ext>
              </a:extLst>
            </p:cNvPr>
            <p:cNvSpPr/>
            <p:nvPr/>
          </p:nvSpPr>
          <p:spPr>
            <a:xfrm>
              <a:off x="2381547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0" name="Straight Connector 591">
              <a:extLst>
                <a:ext uri="{FF2B5EF4-FFF2-40B4-BE49-F238E27FC236}">
                  <a16:creationId xmlns:a16="http://schemas.microsoft.com/office/drawing/2014/main" id="{AFBAE839-150A-FFE4-7C5B-F6D70ACA2DC0}"/>
                </a:ext>
              </a:extLst>
            </p:cNvPr>
            <p:cNvSpPr/>
            <p:nvPr/>
          </p:nvSpPr>
          <p:spPr>
            <a:xfrm>
              <a:off x="238305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1" name="Straight Connector 592">
              <a:extLst>
                <a:ext uri="{FF2B5EF4-FFF2-40B4-BE49-F238E27FC236}">
                  <a16:creationId xmlns:a16="http://schemas.microsoft.com/office/drawing/2014/main" id="{6F251E92-2245-E71A-607F-92A8AEF719FE}"/>
                </a:ext>
              </a:extLst>
            </p:cNvPr>
            <p:cNvSpPr/>
            <p:nvPr/>
          </p:nvSpPr>
          <p:spPr>
            <a:xfrm flipH="1">
              <a:off x="237876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2" name="Straight Connector 523">
              <a:extLst>
                <a:ext uri="{FF2B5EF4-FFF2-40B4-BE49-F238E27FC236}">
                  <a16:creationId xmlns:a16="http://schemas.microsoft.com/office/drawing/2014/main" id="{9DE9880A-D82E-9C3D-FAF2-5FAA1508A19D}"/>
                </a:ext>
              </a:extLst>
            </p:cNvPr>
            <p:cNvSpPr/>
            <p:nvPr/>
          </p:nvSpPr>
          <p:spPr>
            <a:xfrm flipH="1">
              <a:off x="2752067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3" name="Straight Connector 540">
              <a:extLst>
                <a:ext uri="{FF2B5EF4-FFF2-40B4-BE49-F238E27FC236}">
                  <a16:creationId xmlns:a16="http://schemas.microsoft.com/office/drawing/2014/main" id="{83C97937-8513-5588-3EBA-F8ACB7B18D5F}"/>
                </a:ext>
              </a:extLst>
            </p:cNvPr>
            <p:cNvSpPr/>
            <p:nvPr/>
          </p:nvSpPr>
          <p:spPr>
            <a:xfrm flipH="1">
              <a:off x="2753655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4" name="Straight Connector 553">
              <a:extLst>
                <a:ext uri="{FF2B5EF4-FFF2-40B4-BE49-F238E27FC236}">
                  <a16:creationId xmlns:a16="http://schemas.microsoft.com/office/drawing/2014/main" id="{6332D4E2-176D-61FC-AA1D-ABE8E1A71401}"/>
                </a:ext>
              </a:extLst>
            </p:cNvPr>
            <p:cNvSpPr/>
            <p:nvPr/>
          </p:nvSpPr>
          <p:spPr>
            <a:xfrm flipH="1">
              <a:off x="2750363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5" name="Straight Connector 565">
              <a:extLst>
                <a:ext uri="{FF2B5EF4-FFF2-40B4-BE49-F238E27FC236}">
                  <a16:creationId xmlns:a16="http://schemas.microsoft.com/office/drawing/2014/main" id="{E3FC2974-A30C-7DF5-A3AE-1005D57871F2}"/>
                </a:ext>
              </a:extLst>
            </p:cNvPr>
            <p:cNvSpPr/>
            <p:nvPr/>
          </p:nvSpPr>
          <p:spPr>
            <a:xfrm flipV="1">
              <a:off x="2753656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6" name="Straight Connector 566">
              <a:extLst>
                <a:ext uri="{FF2B5EF4-FFF2-40B4-BE49-F238E27FC236}">
                  <a16:creationId xmlns:a16="http://schemas.microsoft.com/office/drawing/2014/main" id="{3E161D00-1993-B1B1-DEDA-969ADA2720D0}"/>
                </a:ext>
              </a:extLst>
            </p:cNvPr>
            <p:cNvSpPr/>
            <p:nvPr/>
          </p:nvSpPr>
          <p:spPr>
            <a:xfrm flipV="1">
              <a:off x="2755279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7" name="Straight Connector 583">
              <a:extLst>
                <a:ext uri="{FF2B5EF4-FFF2-40B4-BE49-F238E27FC236}">
                  <a16:creationId xmlns:a16="http://schemas.microsoft.com/office/drawing/2014/main" id="{47B286C5-977E-0CB4-F8F7-67A54ED60E29}"/>
                </a:ext>
              </a:extLst>
            </p:cNvPr>
            <p:cNvSpPr/>
            <p:nvPr/>
          </p:nvSpPr>
          <p:spPr>
            <a:xfrm flipV="1">
              <a:off x="2755279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8" name="Straight Connector 584">
              <a:extLst>
                <a:ext uri="{FF2B5EF4-FFF2-40B4-BE49-F238E27FC236}">
                  <a16:creationId xmlns:a16="http://schemas.microsoft.com/office/drawing/2014/main" id="{7C2D1953-3C16-AE97-0303-FFCA475C0FF6}"/>
                </a:ext>
              </a:extLst>
            </p:cNvPr>
            <p:cNvSpPr/>
            <p:nvPr/>
          </p:nvSpPr>
          <p:spPr>
            <a:xfrm flipV="1">
              <a:off x="2753656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59" name="Straight Connector 585">
              <a:extLst>
                <a:ext uri="{FF2B5EF4-FFF2-40B4-BE49-F238E27FC236}">
                  <a16:creationId xmlns:a16="http://schemas.microsoft.com/office/drawing/2014/main" id="{E9F49A7D-BBDE-EF44-BC2A-1B96A9DA0F95}"/>
                </a:ext>
              </a:extLst>
            </p:cNvPr>
            <p:cNvSpPr/>
            <p:nvPr/>
          </p:nvSpPr>
          <p:spPr>
            <a:xfrm>
              <a:off x="2755176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0" name="Straight Connector 586">
              <a:extLst>
                <a:ext uri="{FF2B5EF4-FFF2-40B4-BE49-F238E27FC236}">
                  <a16:creationId xmlns:a16="http://schemas.microsoft.com/office/drawing/2014/main" id="{5CB86B17-A6E7-C0F8-4D96-8D420A65D02A}"/>
                </a:ext>
              </a:extLst>
            </p:cNvPr>
            <p:cNvSpPr/>
            <p:nvPr/>
          </p:nvSpPr>
          <p:spPr>
            <a:xfrm flipV="1">
              <a:off x="2753656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1" name="Straight Connector 587">
              <a:extLst>
                <a:ext uri="{FF2B5EF4-FFF2-40B4-BE49-F238E27FC236}">
                  <a16:creationId xmlns:a16="http://schemas.microsoft.com/office/drawing/2014/main" id="{2F82DC2B-9FE9-C6EF-DBB6-F7C9A13D1A60}"/>
                </a:ext>
              </a:extLst>
            </p:cNvPr>
            <p:cNvSpPr/>
            <p:nvPr/>
          </p:nvSpPr>
          <p:spPr>
            <a:xfrm>
              <a:off x="2755277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2" name="Straight Connector 588">
              <a:extLst>
                <a:ext uri="{FF2B5EF4-FFF2-40B4-BE49-F238E27FC236}">
                  <a16:creationId xmlns:a16="http://schemas.microsoft.com/office/drawing/2014/main" id="{9E442C70-D67F-E536-0327-82B8D9B5BF67}"/>
                </a:ext>
              </a:extLst>
            </p:cNvPr>
            <p:cNvSpPr/>
            <p:nvPr/>
          </p:nvSpPr>
          <p:spPr>
            <a:xfrm>
              <a:off x="2755301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3" name="Straight Connector 589">
              <a:extLst>
                <a:ext uri="{FF2B5EF4-FFF2-40B4-BE49-F238E27FC236}">
                  <a16:creationId xmlns:a16="http://schemas.microsoft.com/office/drawing/2014/main" id="{79887013-3CD1-BCB0-6BE6-7356DFEC9826}"/>
                </a:ext>
              </a:extLst>
            </p:cNvPr>
            <p:cNvSpPr/>
            <p:nvPr/>
          </p:nvSpPr>
          <p:spPr>
            <a:xfrm>
              <a:off x="2754361" y="510166"/>
              <a:ext cx="281642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4" name="Straight Connector 590">
              <a:extLst>
                <a:ext uri="{FF2B5EF4-FFF2-40B4-BE49-F238E27FC236}">
                  <a16:creationId xmlns:a16="http://schemas.microsoft.com/office/drawing/2014/main" id="{5DF001F3-66AF-FB75-02AD-9727F368ED0E}"/>
                </a:ext>
              </a:extLst>
            </p:cNvPr>
            <p:cNvSpPr/>
            <p:nvPr/>
          </p:nvSpPr>
          <p:spPr>
            <a:xfrm>
              <a:off x="2753615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5" name="Straight Connector 591">
              <a:extLst>
                <a:ext uri="{FF2B5EF4-FFF2-40B4-BE49-F238E27FC236}">
                  <a16:creationId xmlns:a16="http://schemas.microsoft.com/office/drawing/2014/main" id="{DB90E99E-6E1E-53F6-4C54-6FBBDEBFF529}"/>
                </a:ext>
              </a:extLst>
            </p:cNvPr>
            <p:cNvSpPr/>
            <p:nvPr/>
          </p:nvSpPr>
          <p:spPr>
            <a:xfrm>
              <a:off x="2755125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6" name="Straight Connector 592">
              <a:extLst>
                <a:ext uri="{FF2B5EF4-FFF2-40B4-BE49-F238E27FC236}">
                  <a16:creationId xmlns:a16="http://schemas.microsoft.com/office/drawing/2014/main" id="{C7630603-07A0-7F98-A814-17434BCDF69B}"/>
                </a:ext>
              </a:extLst>
            </p:cNvPr>
            <p:cNvSpPr/>
            <p:nvPr/>
          </p:nvSpPr>
          <p:spPr>
            <a:xfrm flipH="1">
              <a:off x="2750833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167" name="Oval 499">
              <a:extLst>
                <a:ext uri="{FF2B5EF4-FFF2-40B4-BE49-F238E27FC236}">
                  <a16:creationId xmlns:a16="http://schemas.microsoft.com/office/drawing/2014/main" id="{591A14DB-18CD-28C1-6174-009F659A2A4F}"/>
                </a:ext>
              </a:extLst>
            </p:cNvPr>
            <p:cNvSpPr/>
            <p:nvPr/>
          </p:nvSpPr>
          <p:spPr>
            <a:xfrm flipH="1">
              <a:off x="3001262" y="68296"/>
              <a:ext cx="152116" cy="152115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68" name="Oval 506">
              <a:extLst>
                <a:ext uri="{FF2B5EF4-FFF2-40B4-BE49-F238E27FC236}">
                  <a16:creationId xmlns:a16="http://schemas.microsoft.com/office/drawing/2014/main" id="{D0D6C8F4-2E9C-3E07-016B-1EDB1F90ADA1}"/>
                </a:ext>
              </a:extLst>
            </p:cNvPr>
            <p:cNvSpPr/>
            <p:nvPr/>
          </p:nvSpPr>
          <p:spPr>
            <a:xfrm flipH="1">
              <a:off x="2959366" y="393835"/>
              <a:ext cx="235908" cy="235909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69" name="Oval 529">
              <a:extLst>
                <a:ext uri="{FF2B5EF4-FFF2-40B4-BE49-F238E27FC236}">
                  <a16:creationId xmlns:a16="http://schemas.microsoft.com/office/drawing/2014/main" id="{E37083F2-E8B3-FFFE-5BC4-80DFC6E3A5F7}"/>
                </a:ext>
              </a:extLst>
            </p:cNvPr>
            <p:cNvSpPr/>
            <p:nvPr/>
          </p:nvSpPr>
          <p:spPr>
            <a:xfrm flipH="1">
              <a:off x="3018542" y="824765"/>
              <a:ext cx="117556" cy="117556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0" name="Oval 542">
              <a:extLst>
                <a:ext uri="{FF2B5EF4-FFF2-40B4-BE49-F238E27FC236}">
                  <a16:creationId xmlns:a16="http://schemas.microsoft.com/office/drawing/2014/main" id="{BEB2C1C1-0872-CE17-51B5-09DB09E464C5}"/>
                </a:ext>
              </a:extLst>
            </p:cNvPr>
            <p:cNvSpPr/>
            <p:nvPr/>
          </p:nvSpPr>
          <p:spPr>
            <a:xfrm flipH="1">
              <a:off x="2984848" y="1158058"/>
              <a:ext cx="177419" cy="177420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1" name="Oval 501">
              <a:extLst>
                <a:ext uri="{FF2B5EF4-FFF2-40B4-BE49-F238E27FC236}">
                  <a16:creationId xmlns:a16="http://schemas.microsoft.com/office/drawing/2014/main" id="{269EEC14-EAE0-FC31-B596-87F99357DA35}"/>
                </a:ext>
              </a:extLst>
            </p:cNvPr>
            <p:cNvSpPr/>
            <p:nvPr/>
          </p:nvSpPr>
          <p:spPr>
            <a:xfrm flipH="1">
              <a:off x="2273337" y="79336"/>
              <a:ext cx="117557" cy="117555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2" name="Oval 508">
              <a:extLst>
                <a:ext uri="{FF2B5EF4-FFF2-40B4-BE49-F238E27FC236}">
                  <a16:creationId xmlns:a16="http://schemas.microsoft.com/office/drawing/2014/main" id="{41759F7C-AD92-50A6-CA56-89E999AAD99F}"/>
                </a:ext>
              </a:extLst>
            </p:cNvPr>
            <p:cNvSpPr/>
            <p:nvPr/>
          </p:nvSpPr>
          <p:spPr>
            <a:xfrm flipH="1">
              <a:off x="2243406" y="423080"/>
              <a:ext cx="177419" cy="17741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3" name="Oval 531">
              <a:extLst>
                <a:ext uri="{FF2B5EF4-FFF2-40B4-BE49-F238E27FC236}">
                  <a16:creationId xmlns:a16="http://schemas.microsoft.com/office/drawing/2014/main" id="{9AFA8471-F06A-3A47-DD93-BDA13CE6123E}"/>
                </a:ext>
              </a:extLst>
            </p:cNvPr>
            <p:cNvSpPr/>
            <p:nvPr/>
          </p:nvSpPr>
          <p:spPr>
            <a:xfrm flipH="1">
              <a:off x="2205214" y="771820"/>
              <a:ext cx="253803" cy="253804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4" name="Oval 544">
              <a:extLst>
                <a:ext uri="{FF2B5EF4-FFF2-40B4-BE49-F238E27FC236}">
                  <a16:creationId xmlns:a16="http://schemas.microsoft.com/office/drawing/2014/main" id="{81D0455A-50DD-B846-545B-2F8EC93FA988}"/>
                </a:ext>
              </a:extLst>
            </p:cNvPr>
            <p:cNvSpPr/>
            <p:nvPr/>
          </p:nvSpPr>
          <p:spPr>
            <a:xfrm flipH="1">
              <a:off x="2235975" y="1161616"/>
              <a:ext cx="192281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5" name="Oval 507">
              <a:extLst>
                <a:ext uri="{FF2B5EF4-FFF2-40B4-BE49-F238E27FC236}">
                  <a16:creationId xmlns:a16="http://schemas.microsoft.com/office/drawing/2014/main" id="{289FB57E-796B-E134-8F31-7B1C89FB28D1}"/>
                </a:ext>
              </a:extLst>
            </p:cNvPr>
            <p:cNvSpPr/>
            <p:nvPr/>
          </p:nvSpPr>
          <p:spPr>
            <a:xfrm flipH="1">
              <a:off x="2650307" y="453011"/>
              <a:ext cx="117556" cy="11755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6" name="Oval 530">
              <a:extLst>
                <a:ext uri="{FF2B5EF4-FFF2-40B4-BE49-F238E27FC236}">
                  <a16:creationId xmlns:a16="http://schemas.microsoft.com/office/drawing/2014/main" id="{0E197D0F-236F-BBAC-9DA4-591B63358A94}"/>
                </a:ext>
              </a:extLst>
            </p:cNvPr>
            <p:cNvSpPr/>
            <p:nvPr/>
          </p:nvSpPr>
          <p:spPr>
            <a:xfrm flipH="1">
              <a:off x="2619305" y="793763"/>
              <a:ext cx="179561" cy="17956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7" name="Oval 543">
              <a:extLst>
                <a:ext uri="{FF2B5EF4-FFF2-40B4-BE49-F238E27FC236}">
                  <a16:creationId xmlns:a16="http://schemas.microsoft.com/office/drawing/2014/main" id="{9706476D-40FE-7B32-3342-679CB0B11BE7}"/>
                </a:ext>
              </a:extLst>
            </p:cNvPr>
            <p:cNvSpPr/>
            <p:nvPr/>
          </p:nvSpPr>
          <p:spPr>
            <a:xfrm flipH="1">
              <a:off x="2650307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178" name="Oval 500">
              <a:extLst>
                <a:ext uri="{FF2B5EF4-FFF2-40B4-BE49-F238E27FC236}">
                  <a16:creationId xmlns:a16="http://schemas.microsoft.com/office/drawing/2014/main" id="{E0305E14-7FDB-E2DB-F0F7-CBAA4841FDA5}"/>
                </a:ext>
              </a:extLst>
            </p:cNvPr>
            <p:cNvSpPr/>
            <p:nvPr/>
          </p:nvSpPr>
          <p:spPr>
            <a:xfrm flipH="1">
              <a:off x="2596976" y="32244"/>
              <a:ext cx="224218" cy="224218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183" name="Straight Connector 22">
            <a:extLst>
              <a:ext uri="{FF2B5EF4-FFF2-40B4-BE49-F238E27FC236}">
                <a16:creationId xmlns:a16="http://schemas.microsoft.com/office/drawing/2014/main" id="{0F685DAF-7D43-96CA-DBF7-5C172B39D55D}"/>
              </a:ext>
            </a:extLst>
          </p:cNvPr>
          <p:cNvSpPr/>
          <p:nvPr/>
        </p:nvSpPr>
        <p:spPr>
          <a:xfrm>
            <a:off x="9237888" y="2474523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sp>
        <p:nvSpPr>
          <p:cNvPr id="193" name="Straight Connector 22">
            <a:extLst>
              <a:ext uri="{FF2B5EF4-FFF2-40B4-BE49-F238E27FC236}">
                <a16:creationId xmlns:a16="http://schemas.microsoft.com/office/drawing/2014/main" id="{1539A04C-B570-BC5E-EE55-796BFFF809F9}"/>
              </a:ext>
            </a:extLst>
          </p:cNvPr>
          <p:cNvSpPr/>
          <p:nvPr/>
        </p:nvSpPr>
        <p:spPr>
          <a:xfrm>
            <a:off x="6771139" y="5005304"/>
            <a:ext cx="273923" cy="0"/>
          </a:xfrm>
          <a:prstGeom prst="line">
            <a:avLst/>
          </a:prstGeom>
          <a:ln w="9525">
            <a:solidFill>
              <a:schemeClr val="tx1"/>
            </a:solidFill>
            <a:tailEnd type="arrow" w="med" len="sm"/>
          </a:ln>
        </p:spPr>
        <p:txBody>
          <a:bodyPr tIns="45720" bIns="45720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pPr>
            <a:endParaRPr kumimoji="0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sym typeface="IBM Plex Sans Regular"/>
            </a:endParaRPr>
          </a:p>
        </p:txBody>
      </p:sp>
      <p:sp>
        <p:nvSpPr>
          <p:cNvPr id="199" name="TextBox 638">
            <a:extLst>
              <a:ext uri="{FF2B5EF4-FFF2-40B4-BE49-F238E27FC236}">
                <a16:creationId xmlns:a16="http://schemas.microsoft.com/office/drawing/2014/main" id="{9A35F26A-A6A8-89B2-5100-C993E958CB1B}"/>
              </a:ext>
            </a:extLst>
          </p:cNvPr>
          <p:cNvSpPr txBox="1"/>
          <p:nvPr/>
        </p:nvSpPr>
        <p:spPr>
          <a:xfrm>
            <a:off x="1011466" y="2267564"/>
            <a:ext cx="1706527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Sel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-supervise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training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sp>
        <p:nvSpPr>
          <p:cNvPr id="200" name="TextBox 638">
            <a:extLst>
              <a:ext uri="{FF2B5EF4-FFF2-40B4-BE49-F238E27FC236}">
                <a16:creationId xmlns:a16="http://schemas.microsoft.com/office/drawing/2014/main" id="{F87453EC-E475-645A-814A-DCDF7C9DA380}"/>
              </a:ext>
            </a:extLst>
          </p:cNvPr>
          <p:cNvSpPr txBox="1"/>
          <p:nvPr/>
        </p:nvSpPr>
        <p:spPr>
          <a:xfrm>
            <a:off x="3772166" y="4719982"/>
            <a:ext cx="81411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Input text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pic>
        <p:nvPicPr>
          <p:cNvPr id="201" name="Graphic 200" descr="Monitor with solid fill">
            <a:extLst>
              <a:ext uri="{FF2B5EF4-FFF2-40B4-BE49-F238E27FC236}">
                <a16:creationId xmlns:a16="http://schemas.microsoft.com/office/drawing/2014/main" id="{1BD17958-566C-A19A-2D9F-A146673F0C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911" y="2258113"/>
            <a:ext cx="538752" cy="538752"/>
          </a:xfrm>
          <a:prstGeom prst="rect">
            <a:avLst/>
          </a:prstGeom>
        </p:spPr>
      </p:pic>
      <p:sp>
        <p:nvSpPr>
          <p:cNvPr id="202" name="TextBox 638">
            <a:extLst>
              <a:ext uri="{FF2B5EF4-FFF2-40B4-BE49-F238E27FC236}">
                <a16:creationId xmlns:a16="http://schemas.microsoft.com/office/drawing/2014/main" id="{67DE12E1-0EC1-1E62-1EF1-0C016C44B54A}"/>
              </a:ext>
            </a:extLst>
          </p:cNvPr>
          <p:cNvSpPr txBox="1"/>
          <p:nvPr/>
        </p:nvSpPr>
        <p:spPr>
          <a:xfrm>
            <a:off x="9893699" y="1807511"/>
            <a:ext cx="194907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rPr>
              <a:t>Foundation model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Regular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4B877D-ED8A-C2AF-0920-4E05C257B565}"/>
              </a:ext>
            </a:extLst>
          </p:cNvPr>
          <p:cNvGrpSpPr/>
          <p:nvPr/>
        </p:nvGrpSpPr>
        <p:grpSpPr>
          <a:xfrm>
            <a:off x="8276600" y="3898741"/>
            <a:ext cx="1981457" cy="2072133"/>
            <a:chOff x="7361282" y="2926510"/>
            <a:chExt cx="1486093" cy="1554100"/>
          </a:xfrm>
        </p:grpSpPr>
        <p:sp>
          <p:nvSpPr>
            <p:cNvPr id="204" name="TextBox 638">
              <a:extLst>
                <a:ext uri="{FF2B5EF4-FFF2-40B4-BE49-F238E27FC236}">
                  <a16:creationId xmlns:a16="http://schemas.microsoft.com/office/drawing/2014/main" id="{F98CF22C-9D79-3BA9-4619-FFA1E3CBCE95}"/>
                </a:ext>
              </a:extLst>
            </p:cNvPr>
            <p:cNvSpPr txBox="1"/>
            <p:nvPr/>
          </p:nvSpPr>
          <p:spPr>
            <a:xfrm>
              <a:off x="7385567" y="2926510"/>
              <a:ext cx="1461808" cy="1846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Translated input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05" name="TextBox 638">
              <a:extLst>
                <a:ext uri="{FF2B5EF4-FFF2-40B4-BE49-F238E27FC236}">
                  <a16:creationId xmlns:a16="http://schemas.microsoft.com/office/drawing/2014/main" id="{63D326FD-8B4C-8175-2D11-9A67B5B5EA39}"/>
                </a:ext>
              </a:extLst>
            </p:cNvPr>
            <p:cNvSpPr txBox="1"/>
            <p:nvPr/>
          </p:nvSpPr>
          <p:spPr>
            <a:xfrm>
              <a:off x="7385567" y="3518894"/>
              <a:ext cx="1461808" cy="1846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Summarized input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06" name="TextBox 638">
              <a:extLst>
                <a:ext uri="{FF2B5EF4-FFF2-40B4-BE49-F238E27FC236}">
                  <a16:creationId xmlns:a16="http://schemas.microsoft.com/office/drawing/2014/main" id="{70683911-71C3-4BF7-8EE7-6097DC5BD13C}"/>
                </a:ext>
              </a:extLst>
            </p:cNvPr>
            <p:cNvSpPr txBox="1"/>
            <p:nvPr/>
          </p:nvSpPr>
          <p:spPr>
            <a:xfrm>
              <a:off x="7361282" y="4111278"/>
              <a:ext cx="1461808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Answer to the input question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327" name="Rectangle">
            <a:extLst>
              <a:ext uri="{FF2B5EF4-FFF2-40B4-BE49-F238E27FC236}">
                <a16:creationId xmlns:a16="http://schemas.microsoft.com/office/drawing/2014/main" id="{68205A44-1B13-3B81-F94D-5A586FCD7D73}"/>
              </a:ext>
            </a:extLst>
          </p:cNvPr>
          <p:cNvSpPr/>
          <p:nvPr/>
        </p:nvSpPr>
        <p:spPr>
          <a:xfrm>
            <a:off x="-46301" y="1245420"/>
            <a:ext cx="12310844" cy="2352577"/>
          </a:xfrm>
          <a:prstGeom prst="rect">
            <a:avLst/>
          </a:prstGeom>
          <a:solidFill>
            <a:srgbClr val="33B1FF">
              <a:alpha val="9823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l" defTabSz="4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207" name="Group">
            <a:extLst>
              <a:ext uri="{FF2B5EF4-FFF2-40B4-BE49-F238E27FC236}">
                <a16:creationId xmlns:a16="http://schemas.microsoft.com/office/drawing/2014/main" id="{BC8B6CFF-EBDC-CC47-401C-ABD285F7ED2A}"/>
              </a:ext>
            </a:extLst>
          </p:cNvPr>
          <p:cNvGrpSpPr/>
          <p:nvPr/>
        </p:nvGrpSpPr>
        <p:grpSpPr>
          <a:xfrm>
            <a:off x="5412830" y="4519737"/>
            <a:ext cx="1780472" cy="716584"/>
            <a:chOff x="0" y="0"/>
            <a:chExt cx="3211821" cy="1433162"/>
          </a:xfrm>
        </p:grpSpPr>
        <p:sp>
          <p:nvSpPr>
            <p:cNvPr id="208" name="Rectangle">
              <a:extLst>
                <a:ext uri="{FF2B5EF4-FFF2-40B4-BE49-F238E27FC236}">
                  <a16:creationId xmlns:a16="http://schemas.microsoft.com/office/drawing/2014/main" id="{FDA67714-5699-521D-22F0-0BEFFCAC4525}"/>
                </a:ext>
              </a:extLst>
            </p:cNvPr>
            <p:cNvSpPr/>
            <p:nvPr/>
          </p:nvSpPr>
          <p:spPr>
            <a:xfrm>
              <a:off x="0" y="0"/>
              <a:ext cx="3211822" cy="1433163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marL="0" marR="0" lvl="0" indent="0" algn="l" defTabSz="412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09" name="Straight Connector 523">
              <a:extLst>
                <a:ext uri="{FF2B5EF4-FFF2-40B4-BE49-F238E27FC236}">
                  <a16:creationId xmlns:a16="http://schemas.microsoft.com/office/drawing/2014/main" id="{7F4494C2-0099-191E-9A4C-3A7A12B33182}"/>
                </a:ext>
              </a:extLst>
            </p:cNvPr>
            <p:cNvSpPr/>
            <p:nvPr/>
          </p:nvSpPr>
          <p:spPr>
            <a:xfrm flipH="1">
              <a:off x="911403" y="510331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0" name="Straight Connector 524">
              <a:extLst>
                <a:ext uri="{FF2B5EF4-FFF2-40B4-BE49-F238E27FC236}">
                  <a16:creationId xmlns:a16="http://schemas.microsoft.com/office/drawing/2014/main" id="{334C1956-F3A6-3953-F7FC-31BFC11335C8}"/>
                </a:ext>
              </a:extLst>
            </p:cNvPr>
            <p:cNvSpPr/>
            <p:nvPr/>
          </p:nvSpPr>
          <p:spPr>
            <a:xfrm flipH="1" flipV="1">
              <a:off x="195534" y="51033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1" name="Straight Connector 540">
              <a:extLst>
                <a:ext uri="{FF2B5EF4-FFF2-40B4-BE49-F238E27FC236}">
                  <a16:creationId xmlns:a16="http://schemas.microsoft.com/office/drawing/2014/main" id="{DB19C22B-CDA3-E0CA-206B-872CD2421138}"/>
                </a:ext>
              </a:extLst>
            </p:cNvPr>
            <p:cNvSpPr/>
            <p:nvPr/>
          </p:nvSpPr>
          <p:spPr>
            <a:xfrm flipH="1">
              <a:off x="912992" y="883543"/>
              <a:ext cx="28728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2" name="Straight Connector 541">
              <a:extLst>
                <a:ext uri="{FF2B5EF4-FFF2-40B4-BE49-F238E27FC236}">
                  <a16:creationId xmlns:a16="http://schemas.microsoft.com/office/drawing/2014/main" id="{3C2A93C2-9BEA-7464-22EA-419627551CFC}"/>
                </a:ext>
              </a:extLst>
            </p:cNvPr>
            <p:cNvSpPr/>
            <p:nvPr/>
          </p:nvSpPr>
          <p:spPr>
            <a:xfrm flipH="1">
              <a:off x="195534" y="883543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3" name="Straight Connector 553">
              <a:extLst>
                <a:ext uri="{FF2B5EF4-FFF2-40B4-BE49-F238E27FC236}">
                  <a16:creationId xmlns:a16="http://schemas.microsoft.com/office/drawing/2014/main" id="{177E51B8-99DD-19A3-EB8C-CEA21B98361F}"/>
                </a:ext>
              </a:extLst>
            </p:cNvPr>
            <p:cNvSpPr/>
            <p:nvPr/>
          </p:nvSpPr>
          <p:spPr>
            <a:xfrm flipH="1">
              <a:off x="909699" y="1257756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4" name="Straight Connector 554">
              <a:extLst>
                <a:ext uri="{FF2B5EF4-FFF2-40B4-BE49-F238E27FC236}">
                  <a16:creationId xmlns:a16="http://schemas.microsoft.com/office/drawing/2014/main" id="{0A06B2A9-157B-F254-CC6E-56E8A7919ECB}"/>
                </a:ext>
              </a:extLst>
            </p:cNvPr>
            <p:cNvSpPr/>
            <p:nvPr/>
          </p:nvSpPr>
          <p:spPr>
            <a:xfrm flipH="1">
              <a:off x="195534" y="1256755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5" name="Straight Connector 565">
              <a:extLst>
                <a:ext uri="{FF2B5EF4-FFF2-40B4-BE49-F238E27FC236}">
                  <a16:creationId xmlns:a16="http://schemas.microsoft.com/office/drawing/2014/main" id="{B9F6C2A7-B80A-F22C-C630-D2EFE58C55E3}"/>
                </a:ext>
              </a:extLst>
            </p:cNvPr>
            <p:cNvSpPr/>
            <p:nvPr/>
          </p:nvSpPr>
          <p:spPr>
            <a:xfrm flipV="1">
              <a:off x="912992" y="137082"/>
              <a:ext cx="285565" cy="74941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6" name="Straight Connector 566">
              <a:extLst>
                <a:ext uri="{FF2B5EF4-FFF2-40B4-BE49-F238E27FC236}">
                  <a16:creationId xmlns:a16="http://schemas.microsoft.com/office/drawing/2014/main" id="{1CF3CB01-6B48-7AED-6365-87125BAB5146}"/>
                </a:ext>
              </a:extLst>
            </p:cNvPr>
            <p:cNvSpPr/>
            <p:nvPr/>
          </p:nvSpPr>
          <p:spPr>
            <a:xfrm flipV="1">
              <a:off x="914615" y="511635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7" name="Straight Connector 567">
              <a:extLst>
                <a:ext uri="{FF2B5EF4-FFF2-40B4-BE49-F238E27FC236}">
                  <a16:creationId xmlns:a16="http://schemas.microsoft.com/office/drawing/2014/main" id="{B5054198-677B-AA65-7C9C-C2ED2CA5F02B}"/>
                </a:ext>
              </a:extLst>
            </p:cNvPr>
            <p:cNvSpPr/>
            <p:nvPr/>
          </p:nvSpPr>
          <p:spPr>
            <a:xfrm flipV="1">
              <a:off x="199232" y="138575"/>
              <a:ext cx="627988" cy="37005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8" name="Straight Connector 568">
              <a:extLst>
                <a:ext uri="{FF2B5EF4-FFF2-40B4-BE49-F238E27FC236}">
                  <a16:creationId xmlns:a16="http://schemas.microsoft.com/office/drawing/2014/main" id="{105E8EE9-08EC-276B-BAD9-D9EF5BDA8566}"/>
                </a:ext>
              </a:extLst>
            </p:cNvPr>
            <p:cNvSpPr/>
            <p:nvPr/>
          </p:nvSpPr>
          <p:spPr>
            <a:xfrm flipV="1">
              <a:off x="195534" y="13711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19" name="Straight Connector 569">
              <a:extLst>
                <a:ext uri="{FF2B5EF4-FFF2-40B4-BE49-F238E27FC236}">
                  <a16:creationId xmlns:a16="http://schemas.microsoft.com/office/drawing/2014/main" id="{A8F65278-88F4-F088-1CCB-1DF65131379C}"/>
                </a:ext>
              </a:extLst>
            </p:cNvPr>
            <p:cNvSpPr/>
            <p:nvPr/>
          </p:nvSpPr>
          <p:spPr>
            <a:xfrm flipV="1">
              <a:off x="195535" y="510292"/>
              <a:ext cx="631684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0" name="Straight Connector 570">
              <a:extLst>
                <a:ext uri="{FF2B5EF4-FFF2-40B4-BE49-F238E27FC236}">
                  <a16:creationId xmlns:a16="http://schemas.microsoft.com/office/drawing/2014/main" id="{DF9EA81A-5A35-9EF2-4D1D-958181D099B1}"/>
                </a:ext>
              </a:extLst>
            </p:cNvPr>
            <p:cNvSpPr/>
            <p:nvPr/>
          </p:nvSpPr>
          <p:spPr>
            <a:xfrm flipV="1">
              <a:off x="195534" y="883543"/>
              <a:ext cx="631685" cy="37420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1" name="Straight Connector 571">
              <a:extLst>
                <a:ext uri="{FF2B5EF4-FFF2-40B4-BE49-F238E27FC236}">
                  <a16:creationId xmlns:a16="http://schemas.microsoft.com/office/drawing/2014/main" id="{CC6E0006-9C80-41AF-FEEE-F9F03BAF444E}"/>
                </a:ext>
              </a:extLst>
            </p:cNvPr>
            <p:cNvSpPr/>
            <p:nvPr/>
          </p:nvSpPr>
          <p:spPr>
            <a:xfrm flipV="1">
              <a:off x="195534" y="510332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2" name="Straight Connector 572">
              <a:extLst>
                <a:ext uri="{FF2B5EF4-FFF2-40B4-BE49-F238E27FC236}">
                  <a16:creationId xmlns:a16="http://schemas.microsoft.com/office/drawing/2014/main" id="{AFE57004-A7FA-E8B2-9823-FCA71F2BBC84}"/>
                </a:ext>
              </a:extLst>
            </p:cNvPr>
            <p:cNvSpPr/>
            <p:nvPr/>
          </p:nvSpPr>
          <p:spPr>
            <a:xfrm flipV="1">
              <a:off x="195534" y="137080"/>
              <a:ext cx="631686" cy="112101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3" name="Straight Connector 577">
              <a:extLst>
                <a:ext uri="{FF2B5EF4-FFF2-40B4-BE49-F238E27FC236}">
                  <a16:creationId xmlns:a16="http://schemas.microsoft.com/office/drawing/2014/main" id="{73337165-B3A6-2E06-4C93-B5C812CB78C1}"/>
                </a:ext>
              </a:extLst>
            </p:cNvPr>
            <p:cNvSpPr/>
            <p:nvPr/>
          </p:nvSpPr>
          <p:spPr>
            <a:xfrm flipH="1" flipV="1">
              <a:off x="198183" y="13655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4" name="Straight Connector 578">
              <a:extLst>
                <a:ext uri="{FF2B5EF4-FFF2-40B4-BE49-F238E27FC236}">
                  <a16:creationId xmlns:a16="http://schemas.microsoft.com/office/drawing/2014/main" id="{8C14F141-2670-DFB6-8868-F66DD71AC739}"/>
                </a:ext>
              </a:extLst>
            </p:cNvPr>
            <p:cNvSpPr/>
            <p:nvPr/>
          </p:nvSpPr>
          <p:spPr>
            <a:xfrm>
              <a:off x="198183" y="139306"/>
              <a:ext cx="630085" cy="7449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5" name="Straight Connector 579">
              <a:extLst>
                <a:ext uri="{FF2B5EF4-FFF2-40B4-BE49-F238E27FC236}">
                  <a16:creationId xmlns:a16="http://schemas.microsoft.com/office/drawing/2014/main" id="{C3E80962-E163-3D44-038D-322B49FE355C}"/>
                </a:ext>
              </a:extLst>
            </p:cNvPr>
            <p:cNvSpPr/>
            <p:nvPr/>
          </p:nvSpPr>
          <p:spPr>
            <a:xfrm>
              <a:off x="198183" y="136558"/>
              <a:ext cx="630085" cy="11207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6" name="Straight Connector 580">
              <a:extLst>
                <a:ext uri="{FF2B5EF4-FFF2-40B4-BE49-F238E27FC236}">
                  <a16:creationId xmlns:a16="http://schemas.microsoft.com/office/drawing/2014/main" id="{A42023E2-8B58-BC30-FB98-AB6B938CB382}"/>
                </a:ext>
              </a:extLst>
            </p:cNvPr>
            <p:cNvSpPr/>
            <p:nvPr/>
          </p:nvSpPr>
          <p:spPr>
            <a:xfrm flipH="1" flipV="1">
              <a:off x="196500" y="51098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7" name="Straight Connector 581">
              <a:extLst>
                <a:ext uri="{FF2B5EF4-FFF2-40B4-BE49-F238E27FC236}">
                  <a16:creationId xmlns:a16="http://schemas.microsoft.com/office/drawing/2014/main" id="{AC1034C8-5D1F-C112-D864-090E787FA424}"/>
                </a:ext>
              </a:extLst>
            </p:cNvPr>
            <p:cNvSpPr/>
            <p:nvPr/>
          </p:nvSpPr>
          <p:spPr>
            <a:xfrm flipH="1" flipV="1">
              <a:off x="195535" y="88354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8" name="Straight Connector 582">
              <a:extLst>
                <a:ext uri="{FF2B5EF4-FFF2-40B4-BE49-F238E27FC236}">
                  <a16:creationId xmlns:a16="http://schemas.microsoft.com/office/drawing/2014/main" id="{77C058E8-3390-B2F4-8CB4-8A2944BF48D5}"/>
                </a:ext>
              </a:extLst>
            </p:cNvPr>
            <p:cNvSpPr/>
            <p:nvPr/>
          </p:nvSpPr>
          <p:spPr>
            <a:xfrm flipH="1" flipV="1">
              <a:off x="196938" y="50927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29" name="Straight Connector 583">
              <a:extLst>
                <a:ext uri="{FF2B5EF4-FFF2-40B4-BE49-F238E27FC236}">
                  <a16:creationId xmlns:a16="http://schemas.microsoft.com/office/drawing/2014/main" id="{2919FC47-DD01-5185-37B3-FA0F4ABBB95F}"/>
                </a:ext>
              </a:extLst>
            </p:cNvPr>
            <p:cNvSpPr/>
            <p:nvPr/>
          </p:nvSpPr>
          <p:spPr>
            <a:xfrm flipV="1">
              <a:off x="914616" y="137486"/>
              <a:ext cx="281947" cy="37244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0" name="Straight Connector 584">
              <a:extLst>
                <a:ext uri="{FF2B5EF4-FFF2-40B4-BE49-F238E27FC236}">
                  <a16:creationId xmlns:a16="http://schemas.microsoft.com/office/drawing/2014/main" id="{63A2F566-6E39-B3AF-9E0C-B7F5E9640A36}"/>
                </a:ext>
              </a:extLst>
            </p:cNvPr>
            <p:cNvSpPr/>
            <p:nvPr/>
          </p:nvSpPr>
          <p:spPr>
            <a:xfrm flipV="1">
              <a:off x="912992" y="137082"/>
              <a:ext cx="287280" cy="111967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1" name="Straight Connector 585">
              <a:extLst>
                <a:ext uri="{FF2B5EF4-FFF2-40B4-BE49-F238E27FC236}">
                  <a16:creationId xmlns:a16="http://schemas.microsoft.com/office/drawing/2014/main" id="{E1F1E88D-B5E0-E7F4-B051-CD9A5F179337}"/>
                </a:ext>
              </a:extLst>
            </p:cNvPr>
            <p:cNvSpPr/>
            <p:nvPr/>
          </p:nvSpPr>
          <p:spPr>
            <a:xfrm>
              <a:off x="914513" y="138575"/>
              <a:ext cx="280828" cy="3702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2" name="Straight Connector 586">
              <a:extLst>
                <a:ext uri="{FF2B5EF4-FFF2-40B4-BE49-F238E27FC236}">
                  <a16:creationId xmlns:a16="http://schemas.microsoft.com/office/drawing/2014/main" id="{43D275A5-FA5E-9486-64DD-44AF0E168CB8}"/>
                </a:ext>
              </a:extLst>
            </p:cNvPr>
            <p:cNvSpPr/>
            <p:nvPr/>
          </p:nvSpPr>
          <p:spPr>
            <a:xfrm flipV="1">
              <a:off x="912992" y="510697"/>
              <a:ext cx="281640" cy="37244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3" name="Straight Connector 587">
              <a:extLst>
                <a:ext uri="{FF2B5EF4-FFF2-40B4-BE49-F238E27FC236}">
                  <a16:creationId xmlns:a16="http://schemas.microsoft.com/office/drawing/2014/main" id="{FD2BA304-1F35-25F6-82F3-89553862E1A6}"/>
                </a:ext>
              </a:extLst>
            </p:cNvPr>
            <p:cNvSpPr/>
            <p:nvPr/>
          </p:nvSpPr>
          <p:spPr>
            <a:xfrm>
              <a:off x="914613" y="137120"/>
              <a:ext cx="281823" cy="7465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4" name="Straight Connector 588">
              <a:extLst>
                <a:ext uri="{FF2B5EF4-FFF2-40B4-BE49-F238E27FC236}">
                  <a16:creationId xmlns:a16="http://schemas.microsoft.com/office/drawing/2014/main" id="{D2CCC0F5-40EF-7600-39AE-9B60BC9BA0F7}"/>
                </a:ext>
              </a:extLst>
            </p:cNvPr>
            <p:cNvSpPr/>
            <p:nvPr/>
          </p:nvSpPr>
          <p:spPr>
            <a:xfrm>
              <a:off x="914637" y="133406"/>
              <a:ext cx="281767" cy="112492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5" name="Straight Connector 589">
              <a:extLst>
                <a:ext uri="{FF2B5EF4-FFF2-40B4-BE49-F238E27FC236}">
                  <a16:creationId xmlns:a16="http://schemas.microsoft.com/office/drawing/2014/main" id="{287C4AB1-7814-4574-15B3-314A6DA0FF8E}"/>
                </a:ext>
              </a:extLst>
            </p:cNvPr>
            <p:cNvSpPr/>
            <p:nvPr/>
          </p:nvSpPr>
          <p:spPr>
            <a:xfrm>
              <a:off x="913698" y="510292"/>
              <a:ext cx="281642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6" name="Straight Connector 590">
              <a:extLst>
                <a:ext uri="{FF2B5EF4-FFF2-40B4-BE49-F238E27FC236}">
                  <a16:creationId xmlns:a16="http://schemas.microsoft.com/office/drawing/2014/main" id="{A1604AFA-A6B2-D5FC-6F2D-C96EC5BA537F}"/>
                </a:ext>
              </a:extLst>
            </p:cNvPr>
            <p:cNvSpPr/>
            <p:nvPr/>
          </p:nvSpPr>
          <p:spPr>
            <a:xfrm>
              <a:off x="912952" y="509024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7" name="Straight Connector 591">
              <a:extLst>
                <a:ext uri="{FF2B5EF4-FFF2-40B4-BE49-F238E27FC236}">
                  <a16:creationId xmlns:a16="http://schemas.microsoft.com/office/drawing/2014/main" id="{AA9B71C1-0A48-AA96-D154-371D0D879C0E}"/>
                </a:ext>
              </a:extLst>
            </p:cNvPr>
            <p:cNvSpPr/>
            <p:nvPr/>
          </p:nvSpPr>
          <p:spPr>
            <a:xfrm>
              <a:off x="914461" y="884193"/>
              <a:ext cx="282099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8" name="Straight Connector 592">
              <a:extLst>
                <a:ext uri="{FF2B5EF4-FFF2-40B4-BE49-F238E27FC236}">
                  <a16:creationId xmlns:a16="http://schemas.microsoft.com/office/drawing/2014/main" id="{36E1BF33-85E0-05E6-8671-324A5AF6A5A3}"/>
                </a:ext>
              </a:extLst>
            </p:cNvPr>
            <p:cNvSpPr/>
            <p:nvPr/>
          </p:nvSpPr>
          <p:spPr>
            <a:xfrm flipH="1">
              <a:off x="910170" y="882304"/>
              <a:ext cx="286395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39" name="Straight Connector 524">
              <a:extLst>
                <a:ext uri="{FF2B5EF4-FFF2-40B4-BE49-F238E27FC236}">
                  <a16:creationId xmlns:a16="http://schemas.microsoft.com/office/drawing/2014/main" id="{D4EEC315-1EB0-A043-7D7E-12BCE38E47B1}"/>
                </a:ext>
              </a:extLst>
            </p:cNvPr>
            <p:cNvSpPr/>
            <p:nvPr/>
          </p:nvSpPr>
          <p:spPr>
            <a:xfrm flipH="1" flipV="1">
              <a:off x="1660941" y="510081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0" name="Straight Connector 541">
              <a:extLst>
                <a:ext uri="{FF2B5EF4-FFF2-40B4-BE49-F238E27FC236}">
                  <a16:creationId xmlns:a16="http://schemas.microsoft.com/office/drawing/2014/main" id="{7D5C1BCC-C9C1-2618-3C5C-CA80ACEF1CFB}"/>
                </a:ext>
              </a:extLst>
            </p:cNvPr>
            <p:cNvSpPr/>
            <p:nvPr/>
          </p:nvSpPr>
          <p:spPr>
            <a:xfrm flipH="1">
              <a:off x="1660941" y="883292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1" name="Straight Connector 554">
              <a:extLst>
                <a:ext uri="{FF2B5EF4-FFF2-40B4-BE49-F238E27FC236}">
                  <a16:creationId xmlns:a16="http://schemas.microsoft.com/office/drawing/2014/main" id="{809B824F-3D79-392A-5D82-37AF56968FED}"/>
                </a:ext>
              </a:extLst>
            </p:cNvPr>
            <p:cNvSpPr/>
            <p:nvPr/>
          </p:nvSpPr>
          <p:spPr>
            <a:xfrm flipH="1">
              <a:off x="1660941" y="1256504"/>
              <a:ext cx="631686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2" name="Straight Connector 567">
              <a:extLst>
                <a:ext uri="{FF2B5EF4-FFF2-40B4-BE49-F238E27FC236}">
                  <a16:creationId xmlns:a16="http://schemas.microsoft.com/office/drawing/2014/main" id="{1B79B8B4-F116-A03D-C9EC-B95E3242208B}"/>
                </a:ext>
              </a:extLst>
            </p:cNvPr>
            <p:cNvSpPr/>
            <p:nvPr/>
          </p:nvSpPr>
          <p:spPr>
            <a:xfrm flipV="1">
              <a:off x="1664639" y="138324"/>
              <a:ext cx="627988" cy="37005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3" name="Straight Connector 568">
              <a:extLst>
                <a:ext uri="{FF2B5EF4-FFF2-40B4-BE49-F238E27FC236}">
                  <a16:creationId xmlns:a16="http://schemas.microsoft.com/office/drawing/2014/main" id="{134B460E-210B-9E12-F6B7-73230C5B3C63}"/>
                </a:ext>
              </a:extLst>
            </p:cNvPr>
            <p:cNvSpPr/>
            <p:nvPr/>
          </p:nvSpPr>
          <p:spPr>
            <a:xfrm flipV="1">
              <a:off x="1660941" y="136869"/>
              <a:ext cx="631686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4" name="Straight Connector 569">
              <a:extLst>
                <a:ext uri="{FF2B5EF4-FFF2-40B4-BE49-F238E27FC236}">
                  <a16:creationId xmlns:a16="http://schemas.microsoft.com/office/drawing/2014/main" id="{88489E21-09DC-C045-805F-06CC58AEFBD2}"/>
                </a:ext>
              </a:extLst>
            </p:cNvPr>
            <p:cNvSpPr/>
            <p:nvPr/>
          </p:nvSpPr>
          <p:spPr>
            <a:xfrm flipV="1">
              <a:off x="1660941" y="510041"/>
              <a:ext cx="631685" cy="37325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5" name="Straight Connector 570">
              <a:extLst>
                <a:ext uri="{FF2B5EF4-FFF2-40B4-BE49-F238E27FC236}">
                  <a16:creationId xmlns:a16="http://schemas.microsoft.com/office/drawing/2014/main" id="{418F7D0C-C469-A844-CD3A-E856DDE4FE5F}"/>
                </a:ext>
              </a:extLst>
            </p:cNvPr>
            <p:cNvSpPr/>
            <p:nvPr/>
          </p:nvSpPr>
          <p:spPr>
            <a:xfrm flipV="1">
              <a:off x="1660941" y="883292"/>
              <a:ext cx="631685" cy="37421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6" name="Straight Connector 571">
              <a:extLst>
                <a:ext uri="{FF2B5EF4-FFF2-40B4-BE49-F238E27FC236}">
                  <a16:creationId xmlns:a16="http://schemas.microsoft.com/office/drawing/2014/main" id="{1BEE0A43-39D9-5234-B6A6-14F03BB9694B}"/>
                </a:ext>
              </a:extLst>
            </p:cNvPr>
            <p:cNvSpPr/>
            <p:nvPr/>
          </p:nvSpPr>
          <p:spPr>
            <a:xfrm flipV="1">
              <a:off x="1660941" y="510081"/>
              <a:ext cx="631685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7" name="Straight Connector 572">
              <a:extLst>
                <a:ext uri="{FF2B5EF4-FFF2-40B4-BE49-F238E27FC236}">
                  <a16:creationId xmlns:a16="http://schemas.microsoft.com/office/drawing/2014/main" id="{C83D2109-1BA6-E85B-DACD-0540BEBD68E8}"/>
                </a:ext>
              </a:extLst>
            </p:cNvPr>
            <p:cNvSpPr/>
            <p:nvPr/>
          </p:nvSpPr>
          <p:spPr>
            <a:xfrm flipV="1">
              <a:off x="1660941" y="136829"/>
              <a:ext cx="631686" cy="11210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8" name="Straight Connector 577">
              <a:extLst>
                <a:ext uri="{FF2B5EF4-FFF2-40B4-BE49-F238E27FC236}">
                  <a16:creationId xmlns:a16="http://schemas.microsoft.com/office/drawing/2014/main" id="{A8970F49-EBE7-B8DF-8090-3621CF4B5FAD}"/>
                </a:ext>
              </a:extLst>
            </p:cNvPr>
            <p:cNvSpPr/>
            <p:nvPr/>
          </p:nvSpPr>
          <p:spPr>
            <a:xfrm flipH="1" flipV="1">
              <a:off x="1663590" y="136308"/>
              <a:ext cx="630085" cy="3757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49" name="Straight Connector 578">
              <a:extLst>
                <a:ext uri="{FF2B5EF4-FFF2-40B4-BE49-F238E27FC236}">
                  <a16:creationId xmlns:a16="http://schemas.microsoft.com/office/drawing/2014/main" id="{4B9307A8-2D41-14ED-48F5-59A18C19C3A2}"/>
                </a:ext>
              </a:extLst>
            </p:cNvPr>
            <p:cNvSpPr/>
            <p:nvPr/>
          </p:nvSpPr>
          <p:spPr>
            <a:xfrm>
              <a:off x="1663590" y="139056"/>
              <a:ext cx="630085" cy="74496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0" name="Straight Connector 579">
              <a:extLst>
                <a:ext uri="{FF2B5EF4-FFF2-40B4-BE49-F238E27FC236}">
                  <a16:creationId xmlns:a16="http://schemas.microsoft.com/office/drawing/2014/main" id="{AC34D4FE-8FE3-82DB-7E66-001CC1B3AF4E}"/>
                </a:ext>
              </a:extLst>
            </p:cNvPr>
            <p:cNvSpPr/>
            <p:nvPr/>
          </p:nvSpPr>
          <p:spPr>
            <a:xfrm>
              <a:off x="1663590" y="136307"/>
              <a:ext cx="630085" cy="11207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1" name="Straight Connector 580">
              <a:extLst>
                <a:ext uri="{FF2B5EF4-FFF2-40B4-BE49-F238E27FC236}">
                  <a16:creationId xmlns:a16="http://schemas.microsoft.com/office/drawing/2014/main" id="{4B8CC253-1B09-354E-314B-ACFEA7BEFAF7}"/>
                </a:ext>
              </a:extLst>
            </p:cNvPr>
            <p:cNvSpPr/>
            <p:nvPr/>
          </p:nvSpPr>
          <p:spPr>
            <a:xfrm flipH="1" flipV="1">
              <a:off x="1661907" y="510739"/>
              <a:ext cx="629754" cy="37185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2" name="Straight Connector 581">
              <a:extLst>
                <a:ext uri="{FF2B5EF4-FFF2-40B4-BE49-F238E27FC236}">
                  <a16:creationId xmlns:a16="http://schemas.microsoft.com/office/drawing/2014/main" id="{1C8D3537-A754-4452-C6E1-E6D3C9DFF798}"/>
                </a:ext>
              </a:extLst>
            </p:cNvPr>
            <p:cNvSpPr/>
            <p:nvPr/>
          </p:nvSpPr>
          <p:spPr>
            <a:xfrm flipH="1" flipV="1">
              <a:off x="1660942" y="883293"/>
              <a:ext cx="631685" cy="37321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3" name="Straight Connector 582">
              <a:extLst>
                <a:ext uri="{FF2B5EF4-FFF2-40B4-BE49-F238E27FC236}">
                  <a16:creationId xmlns:a16="http://schemas.microsoft.com/office/drawing/2014/main" id="{67BF1AD2-9B8C-3F80-2D71-735B3238F427}"/>
                </a:ext>
              </a:extLst>
            </p:cNvPr>
            <p:cNvSpPr/>
            <p:nvPr/>
          </p:nvSpPr>
          <p:spPr>
            <a:xfrm flipH="1" flipV="1">
              <a:off x="1662344" y="509027"/>
              <a:ext cx="630282" cy="74869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4" name="Straight Connector 523">
              <a:extLst>
                <a:ext uri="{FF2B5EF4-FFF2-40B4-BE49-F238E27FC236}">
                  <a16:creationId xmlns:a16="http://schemas.microsoft.com/office/drawing/2014/main" id="{E1EF8C24-6334-F545-E823-3E779CBAD724}"/>
                </a:ext>
              </a:extLst>
            </p:cNvPr>
            <p:cNvSpPr/>
            <p:nvPr/>
          </p:nvSpPr>
          <p:spPr>
            <a:xfrm flipH="1">
              <a:off x="128330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5" name="Straight Connector 540">
              <a:extLst>
                <a:ext uri="{FF2B5EF4-FFF2-40B4-BE49-F238E27FC236}">
                  <a16:creationId xmlns:a16="http://schemas.microsoft.com/office/drawing/2014/main" id="{6284E323-2BE1-4724-AE13-BF616D6B42B2}"/>
                </a:ext>
              </a:extLst>
            </p:cNvPr>
            <p:cNvSpPr/>
            <p:nvPr/>
          </p:nvSpPr>
          <p:spPr>
            <a:xfrm flipH="1">
              <a:off x="128489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6" name="Straight Connector 553">
              <a:extLst>
                <a:ext uri="{FF2B5EF4-FFF2-40B4-BE49-F238E27FC236}">
                  <a16:creationId xmlns:a16="http://schemas.microsoft.com/office/drawing/2014/main" id="{E3AA2202-3CD2-1F8F-CCB9-753F9D6A56D1}"/>
                </a:ext>
              </a:extLst>
            </p:cNvPr>
            <p:cNvSpPr/>
            <p:nvPr/>
          </p:nvSpPr>
          <p:spPr>
            <a:xfrm flipH="1">
              <a:off x="128160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7" name="Straight Connector 565">
              <a:extLst>
                <a:ext uri="{FF2B5EF4-FFF2-40B4-BE49-F238E27FC236}">
                  <a16:creationId xmlns:a16="http://schemas.microsoft.com/office/drawing/2014/main" id="{3B0FBC35-E376-06B8-97DF-A9EA6CB26C8B}"/>
                </a:ext>
              </a:extLst>
            </p:cNvPr>
            <p:cNvSpPr/>
            <p:nvPr/>
          </p:nvSpPr>
          <p:spPr>
            <a:xfrm flipV="1">
              <a:off x="128489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8" name="Straight Connector 566">
              <a:extLst>
                <a:ext uri="{FF2B5EF4-FFF2-40B4-BE49-F238E27FC236}">
                  <a16:creationId xmlns:a16="http://schemas.microsoft.com/office/drawing/2014/main" id="{B300A15A-3B58-D850-1E09-3F9DE1F0469E}"/>
                </a:ext>
              </a:extLst>
            </p:cNvPr>
            <p:cNvSpPr/>
            <p:nvPr/>
          </p:nvSpPr>
          <p:spPr>
            <a:xfrm flipV="1">
              <a:off x="1286521" y="511509"/>
              <a:ext cx="281820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59" name="Straight Connector 583">
              <a:extLst>
                <a:ext uri="{FF2B5EF4-FFF2-40B4-BE49-F238E27FC236}">
                  <a16:creationId xmlns:a16="http://schemas.microsoft.com/office/drawing/2014/main" id="{D7C62921-DCEB-5A78-16A1-4E44B659D146}"/>
                </a:ext>
              </a:extLst>
            </p:cNvPr>
            <p:cNvSpPr/>
            <p:nvPr/>
          </p:nvSpPr>
          <p:spPr>
            <a:xfrm flipV="1">
              <a:off x="1286521" y="137359"/>
              <a:ext cx="281948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0" name="Straight Connector 584">
              <a:extLst>
                <a:ext uri="{FF2B5EF4-FFF2-40B4-BE49-F238E27FC236}">
                  <a16:creationId xmlns:a16="http://schemas.microsoft.com/office/drawing/2014/main" id="{A81D4141-1B78-7D41-D6CF-D7FB9F249197}"/>
                </a:ext>
              </a:extLst>
            </p:cNvPr>
            <p:cNvSpPr/>
            <p:nvPr/>
          </p:nvSpPr>
          <p:spPr>
            <a:xfrm flipV="1">
              <a:off x="128489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1" name="Straight Connector 585">
              <a:extLst>
                <a:ext uri="{FF2B5EF4-FFF2-40B4-BE49-F238E27FC236}">
                  <a16:creationId xmlns:a16="http://schemas.microsoft.com/office/drawing/2014/main" id="{C9452D0F-EB63-0E6B-5E8E-0CD04E0A2F8E}"/>
                </a:ext>
              </a:extLst>
            </p:cNvPr>
            <p:cNvSpPr/>
            <p:nvPr/>
          </p:nvSpPr>
          <p:spPr>
            <a:xfrm>
              <a:off x="128641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2" name="Straight Connector 586">
              <a:extLst>
                <a:ext uri="{FF2B5EF4-FFF2-40B4-BE49-F238E27FC236}">
                  <a16:creationId xmlns:a16="http://schemas.microsoft.com/office/drawing/2014/main" id="{D76DF7D8-76B0-E627-A73B-34F987862BE3}"/>
                </a:ext>
              </a:extLst>
            </p:cNvPr>
            <p:cNvSpPr/>
            <p:nvPr/>
          </p:nvSpPr>
          <p:spPr>
            <a:xfrm flipV="1">
              <a:off x="1284898" y="510570"/>
              <a:ext cx="281639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3" name="Straight Connector 587">
              <a:extLst>
                <a:ext uri="{FF2B5EF4-FFF2-40B4-BE49-F238E27FC236}">
                  <a16:creationId xmlns:a16="http://schemas.microsoft.com/office/drawing/2014/main" id="{17244531-246D-FC04-DF9D-5049C093168A}"/>
                </a:ext>
              </a:extLst>
            </p:cNvPr>
            <p:cNvSpPr/>
            <p:nvPr/>
          </p:nvSpPr>
          <p:spPr>
            <a:xfrm>
              <a:off x="128651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4" name="Straight Connector 588">
              <a:extLst>
                <a:ext uri="{FF2B5EF4-FFF2-40B4-BE49-F238E27FC236}">
                  <a16:creationId xmlns:a16="http://schemas.microsoft.com/office/drawing/2014/main" id="{3D855B5E-A98D-77CA-5985-6F1D1C3B68D7}"/>
                </a:ext>
              </a:extLst>
            </p:cNvPr>
            <p:cNvSpPr/>
            <p:nvPr/>
          </p:nvSpPr>
          <p:spPr>
            <a:xfrm>
              <a:off x="1286543" y="133280"/>
              <a:ext cx="281767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5" name="Straight Connector 589">
              <a:extLst>
                <a:ext uri="{FF2B5EF4-FFF2-40B4-BE49-F238E27FC236}">
                  <a16:creationId xmlns:a16="http://schemas.microsoft.com/office/drawing/2014/main" id="{4CFECDFF-3CAE-6719-8893-3E7009ED6B67}"/>
                </a:ext>
              </a:extLst>
            </p:cNvPr>
            <p:cNvSpPr/>
            <p:nvPr/>
          </p:nvSpPr>
          <p:spPr>
            <a:xfrm>
              <a:off x="128560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6" name="Straight Connector 590">
              <a:extLst>
                <a:ext uri="{FF2B5EF4-FFF2-40B4-BE49-F238E27FC236}">
                  <a16:creationId xmlns:a16="http://schemas.microsoft.com/office/drawing/2014/main" id="{8F4CAECC-8C62-1712-E356-9918B94BEA6E}"/>
                </a:ext>
              </a:extLst>
            </p:cNvPr>
            <p:cNvSpPr/>
            <p:nvPr/>
          </p:nvSpPr>
          <p:spPr>
            <a:xfrm>
              <a:off x="1284858" y="508897"/>
              <a:ext cx="283482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7" name="Straight Connector 591">
              <a:extLst>
                <a:ext uri="{FF2B5EF4-FFF2-40B4-BE49-F238E27FC236}">
                  <a16:creationId xmlns:a16="http://schemas.microsoft.com/office/drawing/2014/main" id="{AC8417F1-E984-5138-571B-A694E4647C75}"/>
                </a:ext>
              </a:extLst>
            </p:cNvPr>
            <p:cNvSpPr/>
            <p:nvPr/>
          </p:nvSpPr>
          <p:spPr>
            <a:xfrm>
              <a:off x="128636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8" name="Straight Connector 592">
              <a:extLst>
                <a:ext uri="{FF2B5EF4-FFF2-40B4-BE49-F238E27FC236}">
                  <a16:creationId xmlns:a16="http://schemas.microsoft.com/office/drawing/2014/main" id="{60164040-D36F-5DCC-BD2B-E3F40CFC2736}"/>
                </a:ext>
              </a:extLst>
            </p:cNvPr>
            <p:cNvSpPr/>
            <p:nvPr/>
          </p:nvSpPr>
          <p:spPr>
            <a:xfrm flipH="1">
              <a:off x="128207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69" name="Oval 502">
              <a:extLst>
                <a:ext uri="{FF2B5EF4-FFF2-40B4-BE49-F238E27FC236}">
                  <a16:creationId xmlns:a16="http://schemas.microsoft.com/office/drawing/2014/main" id="{EE69503B-6985-DFE3-1676-0B61D520BEE0}"/>
                </a:ext>
              </a:extLst>
            </p:cNvPr>
            <p:cNvSpPr/>
            <p:nvPr/>
          </p:nvSpPr>
          <p:spPr>
            <a:xfrm flipH="1">
              <a:off x="1561828" y="79336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0" name="Oval 509">
              <a:extLst>
                <a:ext uri="{FF2B5EF4-FFF2-40B4-BE49-F238E27FC236}">
                  <a16:creationId xmlns:a16="http://schemas.microsoft.com/office/drawing/2014/main" id="{C2A8731E-C868-2F36-2EDB-94DFC662FD76}"/>
                </a:ext>
              </a:extLst>
            </p:cNvPr>
            <p:cNvSpPr/>
            <p:nvPr/>
          </p:nvSpPr>
          <p:spPr>
            <a:xfrm flipH="1">
              <a:off x="1492619" y="383803"/>
              <a:ext cx="255973" cy="2559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1" name="Oval 545">
              <a:extLst>
                <a:ext uri="{FF2B5EF4-FFF2-40B4-BE49-F238E27FC236}">
                  <a16:creationId xmlns:a16="http://schemas.microsoft.com/office/drawing/2014/main" id="{BF79DFC6-529C-4642-3AD9-AFE1E95229B5}"/>
                </a:ext>
              </a:extLst>
            </p:cNvPr>
            <p:cNvSpPr/>
            <p:nvPr/>
          </p:nvSpPr>
          <p:spPr>
            <a:xfrm flipH="1">
              <a:off x="1527230" y="1145599"/>
              <a:ext cx="202338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2" name="Oval 532">
              <a:extLst>
                <a:ext uri="{FF2B5EF4-FFF2-40B4-BE49-F238E27FC236}">
                  <a16:creationId xmlns:a16="http://schemas.microsoft.com/office/drawing/2014/main" id="{09E7854B-A5CE-32E6-1916-913C76F465FD}"/>
                </a:ext>
              </a:extLst>
            </p:cNvPr>
            <p:cNvSpPr/>
            <p:nvPr/>
          </p:nvSpPr>
          <p:spPr>
            <a:xfrm flipH="1">
              <a:off x="1549869" y="812807"/>
              <a:ext cx="141473" cy="141473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3" name="Oval 503">
              <a:extLst>
                <a:ext uri="{FF2B5EF4-FFF2-40B4-BE49-F238E27FC236}">
                  <a16:creationId xmlns:a16="http://schemas.microsoft.com/office/drawing/2014/main" id="{3A56FACB-AD20-E75F-961B-47A8A4C220FE}"/>
                </a:ext>
              </a:extLst>
            </p:cNvPr>
            <p:cNvSpPr/>
            <p:nvPr/>
          </p:nvSpPr>
          <p:spPr>
            <a:xfrm flipH="1">
              <a:off x="1156548" y="55690"/>
              <a:ext cx="164847" cy="16484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4" name="Oval 510">
              <a:extLst>
                <a:ext uri="{FF2B5EF4-FFF2-40B4-BE49-F238E27FC236}">
                  <a16:creationId xmlns:a16="http://schemas.microsoft.com/office/drawing/2014/main" id="{B9E5DCA0-A076-0574-A400-A9BD22DE4FCC}"/>
                </a:ext>
              </a:extLst>
            </p:cNvPr>
            <p:cNvSpPr/>
            <p:nvPr/>
          </p:nvSpPr>
          <p:spPr>
            <a:xfrm flipH="1">
              <a:off x="1161012" y="433829"/>
              <a:ext cx="155920" cy="15592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5" name="Oval 533">
              <a:extLst>
                <a:ext uri="{FF2B5EF4-FFF2-40B4-BE49-F238E27FC236}">
                  <a16:creationId xmlns:a16="http://schemas.microsoft.com/office/drawing/2014/main" id="{99D953FB-5E4D-B3FC-9337-FB3175151160}"/>
                </a:ext>
              </a:extLst>
            </p:cNvPr>
            <p:cNvSpPr/>
            <p:nvPr/>
          </p:nvSpPr>
          <p:spPr>
            <a:xfrm flipH="1">
              <a:off x="1135311" y="783444"/>
              <a:ext cx="200198" cy="20019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6" name="Oval 546">
              <a:extLst>
                <a:ext uri="{FF2B5EF4-FFF2-40B4-BE49-F238E27FC236}">
                  <a16:creationId xmlns:a16="http://schemas.microsoft.com/office/drawing/2014/main" id="{5563BCE8-0AD3-3EA5-F46E-7547B38DEB0E}"/>
                </a:ext>
              </a:extLst>
            </p:cNvPr>
            <p:cNvSpPr/>
            <p:nvPr/>
          </p:nvSpPr>
          <p:spPr>
            <a:xfrm flipH="1">
              <a:off x="1180194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7" name="Oval 547">
              <a:extLst>
                <a:ext uri="{FF2B5EF4-FFF2-40B4-BE49-F238E27FC236}">
                  <a16:creationId xmlns:a16="http://schemas.microsoft.com/office/drawing/2014/main" id="{F0ED9D8A-627B-BA61-C25F-0935966AC44B}"/>
                </a:ext>
              </a:extLst>
            </p:cNvPr>
            <p:cNvSpPr/>
            <p:nvPr/>
          </p:nvSpPr>
          <p:spPr>
            <a:xfrm flipH="1">
              <a:off x="766315" y="1150627"/>
              <a:ext cx="192280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8" name="Oval 504">
              <a:extLst>
                <a:ext uri="{FF2B5EF4-FFF2-40B4-BE49-F238E27FC236}">
                  <a16:creationId xmlns:a16="http://schemas.microsoft.com/office/drawing/2014/main" id="{8F45EB0D-DD6B-A7E2-A03C-1B94BC5426A6}"/>
                </a:ext>
              </a:extLst>
            </p:cNvPr>
            <p:cNvSpPr/>
            <p:nvPr/>
          </p:nvSpPr>
          <p:spPr>
            <a:xfrm flipH="1">
              <a:off x="728715" y="4374"/>
              <a:ext cx="267480" cy="267480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79" name="Oval 511">
              <a:extLst>
                <a:ext uri="{FF2B5EF4-FFF2-40B4-BE49-F238E27FC236}">
                  <a16:creationId xmlns:a16="http://schemas.microsoft.com/office/drawing/2014/main" id="{776AEAE1-712D-EDB9-3990-A2731FA59EE0}"/>
                </a:ext>
              </a:extLst>
            </p:cNvPr>
            <p:cNvSpPr/>
            <p:nvPr/>
          </p:nvSpPr>
          <p:spPr>
            <a:xfrm flipH="1">
              <a:off x="803578" y="453209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0" name="Oval 534">
              <a:extLst>
                <a:ext uri="{FF2B5EF4-FFF2-40B4-BE49-F238E27FC236}">
                  <a16:creationId xmlns:a16="http://schemas.microsoft.com/office/drawing/2014/main" id="{83746FFD-AF27-D720-9EEB-0EBC3237D5F3}"/>
                </a:ext>
              </a:extLst>
            </p:cNvPr>
            <p:cNvSpPr/>
            <p:nvPr/>
          </p:nvSpPr>
          <p:spPr>
            <a:xfrm flipH="1">
              <a:off x="772293" y="802177"/>
              <a:ext cx="162733" cy="162733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1" name="Oval 505">
              <a:extLst>
                <a:ext uri="{FF2B5EF4-FFF2-40B4-BE49-F238E27FC236}">
                  <a16:creationId xmlns:a16="http://schemas.microsoft.com/office/drawing/2014/main" id="{2B6EFC2B-E3B0-1D1C-2F22-2988A0EE8FC1}"/>
                </a:ext>
              </a:extLst>
            </p:cNvPr>
            <p:cNvSpPr/>
            <p:nvPr/>
          </p:nvSpPr>
          <p:spPr>
            <a:xfrm flipH="1">
              <a:off x="62647" y="68296"/>
              <a:ext cx="152115" cy="152115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2" name="Oval 512">
              <a:extLst>
                <a:ext uri="{FF2B5EF4-FFF2-40B4-BE49-F238E27FC236}">
                  <a16:creationId xmlns:a16="http://schemas.microsoft.com/office/drawing/2014/main" id="{98C32201-4F3C-555E-BD09-9CD4FCD12863}"/>
                </a:ext>
              </a:extLst>
            </p:cNvPr>
            <p:cNvSpPr/>
            <p:nvPr/>
          </p:nvSpPr>
          <p:spPr>
            <a:xfrm flipH="1">
              <a:off x="37535" y="409163"/>
              <a:ext cx="202339" cy="202338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3" name="Oval 535">
              <a:extLst>
                <a:ext uri="{FF2B5EF4-FFF2-40B4-BE49-F238E27FC236}">
                  <a16:creationId xmlns:a16="http://schemas.microsoft.com/office/drawing/2014/main" id="{624B2C8F-7137-5E38-1A81-742EE0990C84}"/>
                </a:ext>
              </a:extLst>
            </p:cNvPr>
            <p:cNvSpPr/>
            <p:nvPr/>
          </p:nvSpPr>
          <p:spPr>
            <a:xfrm flipH="1">
              <a:off x="79927" y="824765"/>
              <a:ext cx="117556" cy="117556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4" name="Oval 548">
              <a:extLst>
                <a:ext uri="{FF2B5EF4-FFF2-40B4-BE49-F238E27FC236}">
                  <a16:creationId xmlns:a16="http://schemas.microsoft.com/office/drawing/2014/main" id="{4F277C65-62B8-D523-A11C-3B8C0F86B5C2}"/>
                </a:ext>
              </a:extLst>
            </p:cNvPr>
            <p:cNvSpPr/>
            <p:nvPr/>
          </p:nvSpPr>
          <p:spPr>
            <a:xfrm flipH="1">
              <a:off x="4965" y="1113028"/>
              <a:ext cx="267479" cy="267480"/>
            </a:xfrm>
            <a:prstGeom prst="ellipse">
              <a:avLst/>
            </a:prstGeom>
            <a:solidFill>
              <a:srgbClr val="009C98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0000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285" name="Straight Connector 523">
              <a:extLst>
                <a:ext uri="{FF2B5EF4-FFF2-40B4-BE49-F238E27FC236}">
                  <a16:creationId xmlns:a16="http://schemas.microsoft.com/office/drawing/2014/main" id="{8C966D50-41E2-62ED-54B7-ABE3999ECDEA}"/>
                </a:ext>
              </a:extLst>
            </p:cNvPr>
            <p:cNvSpPr/>
            <p:nvPr/>
          </p:nvSpPr>
          <p:spPr>
            <a:xfrm flipH="1">
              <a:off x="2379999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6" name="Straight Connector 540">
              <a:extLst>
                <a:ext uri="{FF2B5EF4-FFF2-40B4-BE49-F238E27FC236}">
                  <a16:creationId xmlns:a16="http://schemas.microsoft.com/office/drawing/2014/main" id="{3DC9596E-D9FE-4885-DD7C-3BDEF466D9F7}"/>
                </a:ext>
              </a:extLst>
            </p:cNvPr>
            <p:cNvSpPr/>
            <p:nvPr/>
          </p:nvSpPr>
          <p:spPr>
            <a:xfrm flipH="1">
              <a:off x="2381587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7" name="Straight Connector 553">
              <a:extLst>
                <a:ext uri="{FF2B5EF4-FFF2-40B4-BE49-F238E27FC236}">
                  <a16:creationId xmlns:a16="http://schemas.microsoft.com/office/drawing/2014/main" id="{6630A791-9B03-C577-6178-1A3B2BE3A3B5}"/>
                </a:ext>
              </a:extLst>
            </p:cNvPr>
            <p:cNvSpPr/>
            <p:nvPr/>
          </p:nvSpPr>
          <p:spPr>
            <a:xfrm flipH="1">
              <a:off x="2378295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8" name="Straight Connector 565">
              <a:extLst>
                <a:ext uri="{FF2B5EF4-FFF2-40B4-BE49-F238E27FC236}">
                  <a16:creationId xmlns:a16="http://schemas.microsoft.com/office/drawing/2014/main" id="{23C28062-74BF-9F4F-29E1-44D220D21628}"/>
                </a:ext>
              </a:extLst>
            </p:cNvPr>
            <p:cNvSpPr/>
            <p:nvPr/>
          </p:nvSpPr>
          <p:spPr>
            <a:xfrm flipV="1">
              <a:off x="2381588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89" name="Straight Connector 566">
              <a:extLst>
                <a:ext uri="{FF2B5EF4-FFF2-40B4-BE49-F238E27FC236}">
                  <a16:creationId xmlns:a16="http://schemas.microsoft.com/office/drawing/2014/main" id="{6653BEBF-3D35-0F7B-BEF4-81ED2F18C22B}"/>
                </a:ext>
              </a:extLst>
            </p:cNvPr>
            <p:cNvSpPr/>
            <p:nvPr/>
          </p:nvSpPr>
          <p:spPr>
            <a:xfrm flipV="1">
              <a:off x="2383211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0" name="Straight Connector 583">
              <a:extLst>
                <a:ext uri="{FF2B5EF4-FFF2-40B4-BE49-F238E27FC236}">
                  <a16:creationId xmlns:a16="http://schemas.microsoft.com/office/drawing/2014/main" id="{1E426D77-E286-7A54-6185-183F1F1E46C9}"/>
                </a:ext>
              </a:extLst>
            </p:cNvPr>
            <p:cNvSpPr/>
            <p:nvPr/>
          </p:nvSpPr>
          <p:spPr>
            <a:xfrm flipV="1">
              <a:off x="2383211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1" name="Straight Connector 584">
              <a:extLst>
                <a:ext uri="{FF2B5EF4-FFF2-40B4-BE49-F238E27FC236}">
                  <a16:creationId xmlns:a16="http://schemas.microsoft.com/office/drawing/2014/main" id="{8728516B-2F3C-BF9B-5F45-598C32804315}"/>
                </a:ext>
              </a:extLst>
            </p:cNvPr>
            <p:cNvSpPr/>
            <p:nvPr/>
          </p:nvSpPr>
          <p:spPr>
            <a:xfrm flipV="1">
              <a:off x="2381588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2" name="Straight Connector 585">
              <a:extLst>
                <a:ext uri="{FF2B5EF4-FFF2-40B4-BE49-F238E27FC236}">
                  <a16:creationId xmlns:a16="http://schemas.microsoft.com/office/drawing/2014/main" id="{3F79B8DF-26E3-3101-1FF3-42055E2E2943}"/>
                </a:ext>
              </a:extLst>
            </p:cNvPr>
            <p:cNvSpPr/>
            <p:nvPr/>
          </p:nvSpPr>
          <p:spPr>
            <a:xfrm>
              <a:off x="2383108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3" name="Straight Connector 586">
              <a:extLst>
                <a:ext uri="{FF2B5EF4-FFF2-40B4-BE49-F238E27FC236}">
                  <a16:creationId xmlns:a16="http://schemas.microsoft.com/office/drawing/2014/main" id="{8A58F59B-CF36-1E53-837B-3BD1E644E3D4}"/>
                </a:ext>
              </a:extLst>
            </p:cNvPr>
            <p:cNvSpPr/>
            <p:nvPr/>
          </p:nvSpPr>
          <p:spPr>
            <a:xfrm flipV="1">
              <a:off x="2381588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4" name="Straight Connector 587">
              <a:extLst>
                <a:ext uri="{FF2B5EF4-FFF2-40B4-BE49-F238E27FC236}">
                  <a16:creationId xmlns:a16="http://schemas.microsoft.com/office/drawing/2014/main" id="{E1349D5F-B790-6CD3-0402-0793BC2ED53F}"/>
                </a:ext>
              </a:extLst>
            </p:cNvPr>
            <p:cNvSpPr/>
            <p:nvPr/>
          </p:nvSpPr>
          <p:spPr>
            <a:xfrm>
              <a:off x="2383209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5" name="Straight Connector 588">
              <a:extLst>
                <a:ext uri="{FF2B5EF4-FFF2-40B4-BE49-F238E27FC236}">
                  <a16:creationId xmlns:a16="http://schemas.microsoft.com/office/drawing/2014/main" id="{0207ABAA-121C-76FA-6DAA-DFFE301A249F}"/>
                </a:ext>
              </a:extLst>
            </p:cNvPr>
            <p:cNvSpPr/>
            <p:nvPr/>
          </p:nvSpPr>
          <p:spPr>
            <a:xfrm>
              <a:off x="2383233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6" name="Straight Connector 589">
              <a:extLst>
                <a:ext uri="{FF2B5EF4-FFF2-40B4-BE49-F238E27FC236}">
                  <a16:creationId xmlns:a16="http://schemas.microsoft.com/office/drawing/2014/main" id="{175F457E-679B-77FB-AC3A-668658D18583}"/>
                </a:ext>
              </a:extLst>
            </p:cNvPr>
            <p:cNvSpPr/>
            <p:nvPr/>
          </p:nvSpPr>
          <p:spPr>
            <a:xfrm>
              <a:off x="2382293" y="510166"/>
              <a:ext cx="281643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7" name="Straight Connector 590">
              <a:extLst>
                <a:ext uri="{FF2B5EF4-FFF2-40B4-BE49-F238E27FC236}">
                  <a16:creationId xmlns:a16="http://schemas.microsoft.com/office/drawing/2014/main" id="{10C37696-F244-CF09-A409-A9F34758FC64}"/>
                </a:ext>
              </a:extLst>
            </p:cNvPr>
            <p:cNvSpPr/>
            <p:nvPr/>
          </p:nvSpPr>
          <p:spPr>
            <a:xfrm>
              <a:off x="2381547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8" name="Straight Connector 591">
              <a:extLst>
                <a:ext uri="{FF2B5EF4-FFF2-40B4-BE49-F238E27FC236}">
                  <a16:creationId xmlns:a16="http://schemas.microsoft.com/office/drawing/2014/main" id="{EB0664E6-A159-7EFB-1CB5-03AC1942E97C}"/>
                </a:ext>
              </a:extLst>
            </p:cNvPr>
            <p:cNvSpPr/>
            <p:nvPr/>
          </p:nvSpPr>
          <p:spPr>
            <a:xfrm>
              <a:off x="2383057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299" name="Straight Connector 592">
              <a:extLst>
                <a:ext uri="{FF2B5EF4-FFF2-40B4-BE49-F238E27FC236}">
                  <a16:creationId xmlns:a16="http://schemas.microsoft.com/office/drawing/2014/main" id="{BEA779E6-B23F-3713-A9CF-3E8E725FD8A1}"/>
                </a:ext>
              </a:extLst>
            </p:cNvPr>
            <p:cNvSpPr/>
            <p:nvPr/>
          </p:nvSpPr>
          <p:spPr>
            <a:xfrm flipH="1">
              <a:off x="2378765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0" name="Straight Connector 523">
              <a:extLst>
                <a:ext uri="{FF2B5EF4-FFF2-40B4-BE49-F238E27FC236}">
                  <a16:creationId xmlns:a16="http://schemas.microsoft.com/office/drawing/2014/main" id="{25775BD9-CB4A-1741-BD1F-CA6368C17798}"/>
                </a:ext>
              </a:extLst>
            </p:cNvPr>
            <p:cNvSpPr/>
            <p:nvPr/>
          </p:nvSpPr>
          <p:spPr>
            <a:xfrm flipH="1">
              <a:off x="2752067" y="510205"/>
              <a:ext cx="283110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1" name="Straight Connector 540">
              <a:extLst>
                <a:ext uri="{FF2B5EF4-FFF2-40B4-BE49-F238E27FC236}">
                  <a16:creationId xmlns:a16="http://schemas.microsoft.com/office/drawing/2014/main" id="{F1EBCAD9-BA38-CE8C-5CC5-00019BBBF11D}"/>
                </a:ext>
              </a:extLst>
            </p:cNvPr>
            <p:cNvSpPr/>
            <p:nvPr/>
          </p:nvSpPr>
          <p:spPr>
            <a:xfrm flipH="1">
              <a:off x="2753655" y="883417"/>
              <a:ext cx="287281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2" name="Straight Connector 553">
              <a:extLst>
                <a:ext uri="{FF2B5EF4-FFF2-40B4-BE49-F238E27FC236}">
                  <a16:creationId xmlns:a16="http://schemas.microsoft.com/office/drawing/2014/main" id="{E52127B3-133C-CF7B-AB26-8000D26E9F04}"/>
                </a:ext>
              </a:extLst>
            </p:cNvPr>
            <p:cNvSpPr/>
            <p:nvPr/>
          </p:nvSpPr>
          <p:spPr>
            <a:xfrm flipH="1">
              <a:off x="2750363" y="1257630"/>
              <a:ext cx="286518" cy="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3" name="Straight Connector 565">
              <a:extLst>
                <a:ext uri="{FF2B5EF4-FFF2-40B4-BE49-F238E27FC236}">
                  <a16:creationId xmlns:a16="http://schemas.microsoft.com/office/drawing/2014/main" id="{969AAD6A-3D65-CB05-0E91-09A35E05E5D0}"/>
                </a:ext>
              </a:extLst>
            </p:cNvPr>
            <p:cNvSpPr/>
            <p:nvPr/>
          </p:nvSpPr>
          <p:spPr>
            <a:xfrm flipV="1">
              <a:off x="2753656" y="136956"/>
              <a:ext cx="285564" cy="749414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4" name="Straight Connector 566">
              <a:extLst>
                <a:ext uri="{FF2B5EF4-FFF2-40B4-BE49-F238E27FC236}">
                  <a16:creationId xmlns:a16="http://schemas.microsoft.com/office/drawing/2014/main" id="{051DE4EA-D7B9-9553-C822-997DC85190D9}"/>
                </a:ext>
              </a:extLst>
            </p:cNvPr>
            <p:cNvSpPr/>
            <p:nvPr/>
          </p:nvSpPr>
          <p:spPr>
            <a:xfrm flipV="1">
              <a:off x="2755279" y="511509"/>
              <a:ext cx="281821" cy="74659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5" name="Straight Connector 583">
              <a:extLst>
                <a:ext uri="{FF2B5EF4-FFF2-40B4-BE49-F238E27FC236}">
                  <a16:creationId xmlns:a16="http://schemas.microsoft.com/office/drawing/2014/main" id="{427E7989-1223-8ABC-0F55-EF3AEC30DBAB}"/>
                </a:ext>
              </a:extLst>
            </p:cNvPr>
            <p:cNvSpPr/>
            <p:nvPr/>
          </p:nvSpPr>
          <p:spPr>
            <a:xfrm flipV="1">
              <a:off x="2755279" y="137359"/>
              <a:ext cx="281947" cy="37244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6" name="Straight Connector 584">
              <a:extLst>
                <a:ext uri="{FF2B5EF4-FFF2-40B4-BE49-F238E27FC236}">
                  <a16:creationId xmlns:a16="http://schemas.microsoft.com/office/drawing/2014/main" id="{B72E0336-64DF-B4E6-D6D7-4BD66E259E8E}"/>
                </a:ext>
              </a:extLst>
            </p:cNvPr>
            <p:cNvSpPr/>
            <p:nvPr/>
          </p:nvSpPr>
          <p:spPr>
            <a:xfrm flipV="1">
              <a:off x="2753656" y="136956"/>
              <a:ext cx="287279" cy="111967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7" name="Straight Connector 585">
              <a:extLst>
                <a:ext uri="{FF2B5EF4-FFF2-40B4-BE49-F238E27FC236}">
                  <a16:creationId xmlns:a16="http://schemas.microsoft.com/office/drawing/2014/main" id="{80AA5F44-59BB-126C-E0FA-E9064CA4DAEA}"/>
                </a:ext>
              </a:extLst>
            </p:cNvPr>
            <p:cNvSpPr/>
            <p:nvPr/>
          </p:nvSpPr>
          <p:spPr>
            <a:xfrm>
              <a:off x="2755176" y="138448"/>
              <a:ext cx="280828" cy="370267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8" name="Straight Connector 586">
              <a:extLst>
                <a:ext uri="{FF2B5EF4-FFF2-40B4-BE49-F238E27FC236}">
                  <a16:creationId xmlns:a16="http://schemas.microsoft.com/office/drawing/2014/main" id="{AC2A8C2E-7553-32EB-BD8F-128212CC1D05}"/>
                </a:ext>
              </a:extLst>
            </p:cNvPr>
            <p:cNvSpPr/>
            <p:nvPr/>
          </p:nvSpPr>
          <p:spPr>
            <a:xfrm flipV="1">
              <a:off x="2753656" y="510570"/>
              <a:ext cx="281640" cy="37244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09" name="Straight Connector 587">
              <a:extLst>
                <a:ext uri="{FF2B5EF4-FFF2-40B4-BE49-F238E27FC236}">
                  <a16:creationId xmlns:a16="http://schemas.microsoft.com/office/drawing/2014/main" id="{256CF222-77C9-BEF4-201B-32D1D0558A14}"/>
                </a:ext>
              </a:extLst>
            </p:cNvPr>
            <p:cNvSpPr/>
            <p:nvPr/>
          </p:nvSpPr>
          <p:spPr>
            <a:xfrm>
              <a:off x="2755277" y="136993"/>
              <a:ext cx="281822" cy="746592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0" name="Straight Connector 588">
              <a:extLst>
                <a:ext uri="{FF2B5EF4-FFF2-40B4-BE49-F238E27FC236}">
                  <a16:creationId xmlns:a16="http://schemas.microsoft.com/office/drawing/2014/main" id="{62B2669B-BF2D-3D2A-CC62-54A064A5D9A6}"/>
                </a:ext>
              </a:extLst>
            </p:cNvPr>
            <p:cNvSpPr/>
            <p:nvPr/>
          </p:nvSpPr>
          <p:spPr>
            <a:xfrm>
              <a:off x="2755301" y="133280"/>
              <a:ext cx="281766" cy="112492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1" name="Straight Connector 589">
              <a:extLst>
                <a:ext uri="{FF2B5EF4-FFF2-40B4-BE49-F238E27FC236}">
                  <a16:creationId xmlns:a16="http://schemas.microsoft.com/office/drawing/2014/main" id="{ACEFB5A3-C337-433E-A5F7-C161DB8C43D9}"/>
                </a:ext>
              </a:extLst>
            </p:cNvPr>
            <p:cNvSpPr/>
            <p:nvPr/>
          </p:nvSpPr>
          <p:spPr>
            <a:xfrm>
              <a:off x="2754361" y="510166"/>
              <a:ext cx="281642" cy="37325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2" name="Straight Connector 590">
              <a:extLst>
                <a:ext uri="{FF2B5EF4-FFF2-40B4-BE49-F238E27FC236}">
                  <a16:creationId xmlns:a16="http://schemas.microsoft.com/office/drawing/2014/main" id="{609BDFEF-7067-00F7-B6BB-B6C4495327D3}"/>
                </a:ext>
              </a:extLst>
            </p:cNvPr>
            <p:cNvSpPr/>
            <p:nvPr/>
          </p:nvSpPr>
          <p:spPr>
            <a:xfrm>
              <a:off x="2753615" y="508897"/>
              <a:ext cx="283483" cy="7492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3" name="Straight Connector 591">
              <a:extLst>
                <a:ext uri="{FF2B5EF4-FFF2-40B4-BE49-F238E27FC236}">
                  <a16:creationId xmlns:a16="http://schemas.microsoft.com/office/drawing/2014/main" id="{0E663C25-F8D3-B846-C186-5846ACC22217}"/>
                </a:ext>
              </a:extLst>
            </p:cNvPr>
            <p:cNvSpPr/>
            <p:nvPr/>
          </p:nvSpPr>
          <p:spPr>
            <a:xfrm>
              <a:off x="2755125" y="884067"/>
              <a:ext cx="282098" cy="373806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4" name="Straight Connector 592">
              <a:extLst>
                <a:ext uri="{FF2B5EF4-FFF2-40B4-BE49-F238E27FC236}">
                  <a16:creationId xmlns:a16="http://schemas.microsoft.com/office/drawing/2014/main" id="{FEBAAD80-D572-0043-065D-E80318DA617F}"/>
                </a:ext>
              </a:extLst>
            </p:cNvPr>
            <p:cNvSpPr/>
            <p:nvPr/>
          </p:nvSpPr>
          <p:spPr>
            <a:xfrm flipH="1">
              <a:off x="2750833" y="882177"/>
              <a:ext cx="286396" cy="37569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22860" tIns="22860" rIns="22860" bIns="22860" numCol="1" anchor="t"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15" name="Oval 499">
              <a:extLst>
                <a:ext uri="{FF2B5EF4-FFF2-40B4-BE49-F238E27FC236}">
                  <a16:creationId xmlns:a16="http://schemas.microsoft.com/office/drawing/2014/main" id="{4E3267E2-DB77-E2C0-8D0B-98D45DAC0C44}"/>
                </a:ext>
              </a:extLst>
            </p:cNvPr>
            <p:cNvSpPr/>
            <p:nvPr/>
          </p:nvSpPr>
          <p:spPr>
            <a:xfrm flipH="1">
              <a:off x="3001262" y="68296"/>
              <a:ext cx="152116" cy="152115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6" name="Oval 506">
              <a:extLst>
                <a:ext uri="{FF2B5EF4-FFF2-40B4-BE49-F238E27FC236}">
                  <a16:creationId xmlns:a16="http://schemas.microsoft.com/office/drawing/2014/main" id="{CF0BCC24-1357-FFA7-1D5D-C6B6A12C6D7C}"/>
                </a:ext>
              </a:extLst>
            </p:cNvPr>
            <p:cNvSpPr/>
            <p:nvPr/>
          </p:nvSpPr>
          <p:spPr>
            <a:xfrm flipH="1">
              <a:off x="2959366" y="393835"/>
              <a:ext cx="235908" cy="235909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7" name="Oval 529">
              <a:extLst>
                <a:ext uri="{FF2B5EF4-FFF2-40B4-BE49-F238E27FC236}">
                  <a16:creationId xmlns:a16="http://schemas.microsoft.com/office/drawing/2014/main" id="{A22F20BE-5BDA-CF72-315B-9FE9D58BB3B5}"/>
                </a:ext>
              </a:extLst>
            </p:cNvPr>
            <p:cNvSpPr/>
            <p:nvPr/>
          </p:nvSpPr>
          <p:spPr>
            <a:xfrm flipH="1">
              <a:off x="3018542" y="824765"/>
              <a:ext cx="117556" cy="117556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8" name="Oval 542">
              <a:extLst>
                <a:ext uri="{FF2B5EF4-FFF2-40B4-BE49-F238E27FC236}">
                  <a16:creationId xmlns:a16="http://schemas.microsoft.com/office/drawing/2014/main" id="{F5BAFB7F-36E1-D9A7-4D30-70ABCF36DA4C}"/>
                </a:ext>
              </a:extLst>
            </p:cNvPr>
            <p:cNvSpPr/>
            <p:nvPr/>
          </p:nvSpPr>
          <p:spPr>
            <a:xfrm flipH="1">
              <a:off x="2984848" y="1158058"/>
              <a:ext cx="177419" cy="177420"/>
            </a:xfrm>
            <a:prstGeom prst="ellipse">
              <a:avLst/>
            </a:prstGeom>
            <a:solidFill>
              <a:srgbClr val="FF7B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FFF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19" name="Oval 501">
              <a:extLst>
                <a:ext uri="{FF2B5EF4-FFF2-40B4-BE49-F238E27FC236}">
                  <a16:creationId xmlns:a16="http://schemas.microsoft.com/office/drawing/2014/main" id="{7F16F786-346E-3A5F-24A7-3A790154BC3A}"/>
                </a:ext>
              </a:extLst>
            </p:cNvPr>
            <p:cNvSpPr/>
            <p:nvPr/>
          </p:nvSpPr>
          <p:spPr>
            <a:xfrm flipH="1">
              <a:off x="2273337" y="79336"/>
              <a:ext cx="117557" cy="117555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0" name="Oval 508">
              <a:extLst>
                <a:ext uri="{FF2B5EF4-FFF2-40B4-BE49-F238E27FC236}">
                  <a16:creationId xmlns:a16="http://schemas.microsoft.com/office/drawing/2014/main" id="{ECF589DC-3855-6AEF-98C5-5FC909034CE9}"/>
                </a:ext>
              </a:extLst>
            </p:cNvPr>
            <p:cNvSpPr/>
            <p:nvPr/>
          </p:nvSpPr>
          <p:spPr>
            <a:xfrm flipH="1">
              <a:off x="2243406" y="423080"/>
              <a:ext cx="177419" cy="177419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1" name="Oval 531">
              <a:extLst>
                <a:ext uri="{FF2B5EF4-FFF2-40B4-BE49-F238E27FC236}">
                  <a16:creationId xmlns:a16="http://schemas.microsoft.com/office/drawing/2014/main" id="{8BB2C542-A2E0-BBED-5128-051A421E49A4}"/>
                </a:ext>
              </a:extLst>
            </p:cNvPr>
            <p:cNvSpPr/>
            <p:nvPr/>
          </p:nvSpPr>
          <p:spPr>
            <a:xfrm flipH="1">
              <a:off x="2205214" y="771820"/>
              <a:ext cx="253803" cy="253804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2" name="Oval 544">
              <a:extLst>
                <a:ext uri="{FF2B5EF4-FFF2-40B4-BE49-F238E27FC236}">
                  <a16:creationId xmlns:a16="http://schemas.microsoft.com/office/drawing/2014/main" id="{A5457250-6D14-21DA-E67B-20A7FFC03F49}"/>
                </a:ext>
              </a:extLst>
            </p:cNvPr>
            <p:cNvSpPr/>
            <p:nvPr/>
          </p:nvSpPr>
          <p:spPr>
            <a:xfrm flipH="1">
              <a:off x="2235975" y="1161616"/>
              <a:ext cx="192281" cy="19228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3" name="Oval 507">
              <a:extLst>
                <a:ext uri="{FF2B5EF4-FFF2-40B4-BE49-F238E27FC236}">
                  <a16:creationId xmlns:a16="http://schemas.microsoft.com/office/drawing/2014/main" id="{C22C4B94-6E4B-7BEB-B7C5-066E420C16BB}"/>
                </a:ext>
              </a:extLst>
            </p:cNvPr>
            <p:cNvSpPr/>
            <p:nvPr/>
          </p:nvSpPr>
          <p:spPr>
            <a:xfrm flipH="1">
              <a:off x="2650307" y="453011"/>
              <a:ext cx="117556" cy="117557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4" name="Oval 530">
              <a:extLst>
                <a:ext uri="{FF2B5EF4-FFF2-40B4-BE49-F238E27FC236}">
                  <a16:creationId xmlns:a16="http://schemas.microsoft.com/office/drawing/2014/main" id="{4B2F0FC2-FDD9-6EC5-DD31-0329DF90B8DE}"/>
                </a:ext>
              </a:extLst>
            </p:cNvPr>
            <p:cNvSpPr/>
            <p:nvPr/>
          </p:nvSpPr>
          <p:spPr>
            <a:xfrm flipH="1">
              <a:off x="2619305" y="793763"/>
              <a:ext cx="179561" cy="179561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5" name="Oval 543">
              <a:extLst>
                <a:ext uri="{FF2B5EF4-FFF2-40B4-BE49-F238E27FC236}">
                  <a16:creationId xmlns:a16="http://schemas.microsoft.com/office/drawing/2014/main" id="{31A37720-923F-94DA-F68B-099C76D5DDF9}"/>
                </a:ext>
              </a:extLst>
            </p:cNvPr>
            <p:cNvSpPr/>
            <p:nvPr/>
          </p:nvSpPr>
          <p:spPr>
            <a:xfrm flipH="1">
              <a:off x="2650307" y="1196944"/>
              <a:ext cx="117556" cy="117556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26" name="Oval 500">
              <a:extLst>
                <a:ext uri="{FF2B5EF4-FFF2-40B4-BE49-F238E27FC236}">
                  <a16:creationId xmlns:a16="http://schemas.microsoft.com/office/drawing/2014/main" id="{454BA12D-EE82-1FB9-5563-4B656A030AB1}"/>
                </a:ext>
              </a:extLst>
            </p:cNvPr>
            <p:cNvSpPr/>
            <p:nvPr/>
          </p:nvSpPr>
          <p:spPr>
            <a:xfrm flipH="1">
              <a:off x="2596976" y="32244"/>
              <a:ext cx="224218" cy="224218"/>
            </a:xfrm>
            <a:prstGeom prst="ellipse">
              <a:avLst/>
            </a:prstGeom>
            <a:solidFill>
              <a:srgbClr val="F9C200"/>
            </a:solidFill>
            <a:ln w="12700" cap="flat">
              <a:noFill/>
              <a:miter lim="400000"/>
            </a:ln>
            <a:effectLst/>
          </p:spPr>
          <p:txBody>
            <a:bodyPr wrap="square" lIns="18000" tIns="18000" rIns="18000" bIns="18000" numCol="1" anchor="t">
              <a:noAutofit/>
            </a:bodyPr>
            <a:lstStyle/>
            <a:p>
              <a:pPr marL="0" marR="0" lvl="0" indent="0" algn="l" defTabSz="3429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>
                  <a:solidFill>
                    <a:srgbClr val="F9C200"/>
                  </a:solidFill>
                </a:defRPr>
              </a:pPr>
              <a:endParaRPr kumimoji="0" sz="700" b="0" i="0" u="none" strike="noStrike" kern="1200" cap="none" spc="0" normalizeH="0" baseline="0" noProof="0">
                <a:ln>
                  <a:noFill/>
                </a:ln>
                <a:solidFill>
                  <a:srgbClr val="F9C2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328" name="TextBox 327">
            <a:extLst>
              <a:ext uri="{FF2B5EF4-FFF2-40B4-BE49-F238E27FC236}">
                <a16:creationId xmlns:a16="http://schemas.microsoft.com/office/drawing/2014/main" id="{6854DB21-3FC5-509E-7014-5F6564F29C9F}"/>
              </a:ext>
            </a:extLst>
          </p:cNvPr>
          <p:cNvSpPr txBox="1"/>
          <p:nvPr/>
        </p:nvSpPr>
        <p:spPr>
          <a:xfrm>
            <a:off x="4541899" y="4642421"/>
            <a:ext cx="431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+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99A0616-80EA-4B1A-B7E8-4CBB1AD8FDCB}"/>
              </a:ext>
            </a:extLst>
          </p:cNvPr>
          <p:cNvGrpSpPr/>
          <p:nvPr/>
        </p:nvGrpSpPr>
        <p:grpSpPr>
          <a:xfrm>
            <a:off x="935940" y="4088566"/>
            <a:ext cx="1421302" cy="1792937"/>
            <a:chOff x="883949" y="4075014"/>
            <a:chExt cx="1421302" cy="1792937"/>
          </a:xfrm>
        </p:grpSpPr>
        <p:sp>
          <p:nvSpPr>
            <p:cNvPr id="332" name="TextBox 638">
              <a:extLst>
                <a:ext uri="{FF2B5EF4-FFF2-40B4-BE49-F238E27FC236}">
                  <a16:creationId xmlns:a16="http://schemas.microsoft.com/office/drawing/2014/main" id="{A236203E-6F40-48D2-9DE4-922482E597A4}"/>
                </a:ext>
              </a:extLst>
            </p:cNvPr>
            <p:cNvSpPr txBox="1"/>
            <p:nvPr/>
          </p:nvSpPr>
          <p:spPr>
            <a:xfrm>
              <a:off x="883949" y="4075014"/>
              <a:ext cx="1391991" cy="49244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Translation prompt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33" name="TextBox 638">
              <a:extLst>
                <a:ext uri="{FF2B5EF4-FFF2-40B4-BE49-F238E27FC236}">
                  <a16:creationId xmlns:a16="http://schemas.microsoft.com/office/drawing/2014/main" id="{5A7952A9-72AB-4772-BFB5-91300EE3B577}"/>
                </a:ext>
              </a:extLst>
            </p:cNvPr>
            <p:cNvSpPr txBox="1"/>
            <p:nvPr/>
          </p:nvSpPr>
          <p:spPr>
            <a:xfrm>
              <a:off x="892109" y="4746238"/>
              <a:ext cx="1391991" cy="49244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Summarization prompt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  <p:sp>
          <p:nvSpPr>
            <p:cNvPr id="334" name="TextBox 638">
              <a:extLst>
                <a:ext uri="{FF2B5EF4-FFF2-40B4-BE49-F238E27FC236}">
                  <a16:creationId xmlns:a16="http://schemas.microsoft.com/office/drawing/2014/main" id="{3EEA0016-0F30-43CB-8BD6-331716EDCC64}"/>
                </a:ext>
              </a:extLst>
            </p:cNvPr>
            <p:cNvSpPr txBox="1"/>
            <p:nvPr/>
          </p:nvSpPr>
          <p:spPr>
            <a:xfrm>
              <a:off x="913260" y="5375508"/>
              <a:ext cx="1391991" cy="49244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 Regular"/>
                  <a:ea typeface="+mn-ea"/>
                  <a:cs typeface="+mn-cs"/>
                </a:rPr>
                <a:t>Answer finding prompt</a:t>
              </a:r>
              <a:endPara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ea typeface="+mn-ea"/>
                <a:cs typeface="+mn-cs"/>
              </a:endParaRPr>
            </a:p>
          </p:txBody>
        </p:sp>
      </p:grpSp>
      <p:sp>
        <p:nvSpPr>
          <p:cNvPr id="335" name="TextBox 334">
            <a:extLst>
              <a:ext uri="{FF2B5EF4-FFF2-40B4-BE49-F238E27FC236}">
                <a16:creationId xmlns:a16="http://schemas.microsoft.com/office/drawing/2014/main" id="{9C566ADD-3334-4A4C-B8F5-3B3029ED19A9}"/>
              </a:ext>
            </a:extLst>
          </p:cNvPr>
          <p:cNvSpPr txBox="1"/>
          <p:nvPr/>
        </p:nvSpPr>
        <p:spPr>
          <a:xfrm>
            <a:off x="2946511" y="4681129"/>
            <a:ext cx="4315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+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E22C44-7F56-4173-91BF-AD8DFF560372}"/>
              </a:ext>
            </a:extLst>
          </p:cNvPr>
          <p:cNvGrpSpPr/>
          <p:nvPr/>
        </p:nvGrpSpPr>
        <p:grpSpPr>
          <a:xfrm>
            <a:off x="7786966" y="3985537"/>
            <a:ext cx="273923" cy="1698332"/>
            <a:chOff x="6771139" y="4162912"/>
            <a:chExt cx="273923" cy="1698332"/>
          </a:xfrm>
        </p:grpSpPr>
        <p:sp>
          <p:nvSpPr>
            <p:cNvPr id="336" name="Straight Connector 22">
              <a:extLst>
                <a:ext uri="{FF2B5EF4-FFF2-40B4-BE49-F238E27FC236}">
                  <a16:creationId xmlns:a16="http://schemas.microsoft.com/office/drawing/2014/main" id="{E1C611AE-6827-490A-95FB-2B0707E9BE1D}"/>
                </a:ext>
              </a:extLst>
            </p:cNvPr>
            <p:cNvSpPr/>
            <p:nvPr/>
          </p:nvSpPr>
          <p:spPr>
            <a:xfrm>
              <a:off x="6771139" y="4162912"/>
              <a:ext cx="273923" cy="0"/>
            </a:xfrm>
            <a:prstGeom prst="line">
              <a:avLst/>
            </a:prstGeom>
            <a:ln w="9525">
              <a:solidFill>
                <a:schemeClr val="tx1"/>
              </a:solidFill>
              <a:tailEnd type="arrow" w="med" len="sm"/>
            </a:ln>
          </p:spPr>
          <p:txBody>
            <a:bodyPr tIns="45720" bIns="45720"/>
            <a:lstStyle/>
            <a:p>
              <a:pPr marL="0" marR="0" lvl="0" indent="0" algn="r" defTabSz="914377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37" name="Straight Connector 22">
              <a:extLst>
                <a:ext uri="{FF2B5EF4-FFF2-40B4-BE49-F238E27FC236}">
                  <a16:creationId xmlns:a16="http://schemas.microsoft.com/office/drawing/2014/main" id="{E4B87719-7C8F-4AB6-AEFC-0570C18B3529}"/>
                </a:ext>
              </a:extLst>
            </p:cNvPr>
            <p:cNvSpPr/>
            <p:nvPr/>
          </p:nvSpPr>
          <p:spPr>
            <a:xfrm>
              <a:off x="6771139" y="5005304"/>
              <a:ext cx="273923" cy="0"/>
            </a:xfrm>
            <a:prstGeom prst="line">
              <a:avLst/>
            </a:prstGeom>
            <a:ln w="9525">
              <a:solidFill>
                <a:schemeClr val="tx1"/>
              </a:solidFill>
              <a:tailEnd type="arrow" w="med" len="sm"/>
            </a:ln>
          </p:spPr>
          <p:txBody>
            <a:bodyPr tIns="45720" bIns="45720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  <p:sp>
          <p:nvSpPr>
            <p:cNvPr id="338" name="Straight Connector 22">
              <a:extLst>
                <a:ext uri="{FF2B5EF4-FFF2-40B4-BE49-F238E27FC236}">
                  <a16:creationId xmlns:a16="http://schemas.microsoft.com/office/drawing/2014/main" id="{0BD519D8-9075-42A9-965E-C585E8185851}"/>
                </a:ext>
              </a:extLst>
            </p:cNvPr>
            <p:cNvSpPr/>
            <p:nvPr/>
          </p:nvSpPr>
          <p:spPr>
            <a:xfrm>
              <a:off x="6771139" y="5861244"/>
              <a:ext cx="273923" cy="0"/>
            </a:xfrm>
            <a:prstGeom prst="line">
              <a:avLst/>
            </a:prstGeom>
            <a:ln w="9525">
              <a:solidFill>
                <a:schemeClr val="tx1"/>
              </a:solidFill>
              <a:tailEnd type="arrow" w="med" len="sm"/>
            </a:ln>
          </p:spPr>
          <p:txBody>
            <a:bodyPr tIns="45720" bIns="45720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IBM Plex Sans Regular"/>
                  <a:ea typeface="IBM Plex Sans Regular"/>
                  <a:cs typeface="IBM Plex Sans Regular"/>
                  <a:sym typeface="IBM Plex Sans Regular"/>
                </a:defRPr>
              </a:pPr>
              <a:endParaRPr kumimoji="0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Regular"/>
                <a:sym typeface="IBM Plex Sans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1954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4EE325-DCCF-4831-6C98-444414A15C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23941" y="2971797"/>
            <a:ext cx="2508428" cy="547423"/>
          </a:xfrm>
        </p:spPr>
        <p:txBody>
          <a:bodyPr/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→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 Offering security and data protection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9CEB8E-E29B-A4A0-D84E-A0BBB13940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940" y="3754658"/>
            <a:ext cx="2572483" cy="1325535"/>
          </a:xfrm>
        </p:spPr>
        <p:txBody>
          <a:bodyPr/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→ 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 Built with governance, transparency, and ethics that support increasing regulatory compliance demand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066AF-6657-5517-672C-684BE3AB8E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46877" y="4245029"/>
            <a:ext cx="2650299" cy="908745"/>
          </a:xfrm>
        </p:spPr>
        <p:txBody>
          <a:bodyPr/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→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 Running anywhere, designed for scale and widespread adoption to truly create enterprise valu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480F2E-4FD4-53E5-2F5B-14E9A1E6E3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042" y="2976023"/>
            <a:ext cx="2341799" cy="695408"/>
          </a:xfrm>
        </p:spPr>
        <p:txBody>
          <a:bodyPr/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→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 Based on the best AI and cloud technologies availabl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875DD-0FF6-14DC-C520-484CFA520D0E}"/>
              </a:ext>
            </a:extLst>
          </p:cNvPr>
          <p:cNvSpPr txBox="1"/>
          <p:nvPr/>
        </p:nvSpPr>
        <p:spPr>
          <a:xfrm>
            <a:off x="3397752" y="4010109"/>
            <a:ext cx="2579045" cy="107721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→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 Including curat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models that can be tuned to proprietary data and company guidelin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9DA8FE-AD07-F5C9-984D-792CD3A6A36E}"/>
              </a:ext>
            </a:extLst>
          </p:cNvPr>
          <p:cNvSpPr txBox="1"/>
          <p:nvPr/>
        </p:nvSpPr>
        <p:spPr>
          <a:xfrm>
            <a:off x="3397753" y="2972740"/>
            <a:ext cx="2723575" cy="83099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451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→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 Designed for targeted business use cases, that unlock new value.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3C414FC-5CE7-2441-B52C-810A76B80392}"/>
              </a:ext>
            </a:extLst>
          </p:cNvPr>
          <p:cNvSpPr txBox="1">
            <a:spLocks/>
          </p:cNvSpPr>
          <p:nvPr/>
        </p:nvSpPr>
        <p:spPr>
          <a:xfrm>
            <a:off x="608039" y="2117505"/>
            <a:ext cx="1155084" cy="632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Open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0969587-80C6-48A8-ABD6-C07EE1EEB369}"/>
              </a:ext>
            </a:extLst>
          </p:cNvPr>
          <p:cNvSpPr txBox="1">
            <a:spLocks/>
          </p:cNvSpPr>
          <p:nvPr/>
        </p:nvSpPr>
        <p:spPr>
          <a:xfrm>
            <a:off x="9166867" y="2117441"/>
            <a:ext cx="2137399" cy="6324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Empowering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8D914AD8-39B7-E79D-CE86-CF670371BF0E}"/>
              </a:ext>
            </a:extLst>
          </p:cNvPr>
          <p:cNvSpPr txBox="1">
            <a:spLocks/>
          </p:cNvSpPr>
          <p:nvPr/>
        </p:nvSpPr>
        <p:spPr>
          <a:xfrm>
            <a:off x="6323941" y="2117441"/>
            <a:ext cx="1746145" cy="6710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61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22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83" marR="0" indent="-164561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Trusted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58B6A60-281E-070A-38DD-97D38A7E1B70}"/>
              </a:ext>
            </a:extLst>
          </p:cNvPr>
          <p:cNvSpPr txBox="1">
            <a:spLocks/>
          </p:cNvSpPr>
          <p:nvPr/>
        </p:nvSpPr>
        <p:spPr>
          <a:xfrm>
            <a:off x="3397969" y="2117441"/>
            <a:ext cx="1746143" cy="632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Targete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E1F0802-64BE-FDAE-F847-C6F7267F2C55}"/>
              </a:ext>
            </a:extLst>
          </p:cNvPr>
          <p:cNvSpPr txBox="1">
            <a:spLocks/>
          </p:cNvSpPr>
          <p:nvPr/>
        </p:nvSpPr>
        <p:spPr>
          <a:xfrm>
            <a:off x="608039" y="4009576"/>
            <a:ext cx="2451575" cy="8637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91423" marR="0" indent="-91423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182846" marR="0" indent="-91423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274269" marR="0" indent="-91423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571393" marR="0" indent="-228557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921358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6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5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109" marR="0" indent="-194468" algn="l" defTabSz="1218971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→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Giving access to the innovation of the open community and multiple models.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8937B0C-0239-9FA2-726C-A11BA14641C5}"/>
              </a:ext>
            </a:extLst>
          </p:cNvPr>
          <p:cNvCxnSpPr>
            <a:cxnSpLocks/>
          </p:cNvCxnSpPr>
          <p:nvPr/>
        </p:nvCxnSpPr>
        <p:spPr bwMode="auto">
          <a:xfrm>
            <a:off x="3195137" y="1781921"/>
            <a:ext cx="0" cy="355473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C0E501C-E8D2-AB1D-28F1-D770A1CF37B1}"/>
              </a:ext>
            </a:extLst>
          </p:cNvPr>
          <p:cNvSpPr txBox="1"/>
          <p:nvPr/>
        </p:nvSpPr>
        <p:spPr>
          <a:xfrm>
            <a:off x="9178654" y="2971861"/>
            <a:ext cx="2629989" cy="107721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→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sym typeface="IBM Plex Sans Light"/>
              </a:rPr>
              <a:t>On 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latform to bring your own data and AI models that you tune, train, deploy, and govern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56EF23C-ACF8-4C91-827C-29BF2096DB00}"/>
              </a:ext>
            </a:extLst>
          </p:cNvPr>
          <p:cNvCxnSpPr>
            <a:cxnSpLocks/>
          </p:cNvCxnSpPr>
          <p:nvPr/>
        </p:nvCxnSpPr>
        <p:spPr bwMode="auto">
          <a:xfrm>
            <a:off x="6105977" y="1781921"/>
            <a:ext cx="0" cy="355473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0800A74-BC15-FDD5-81E7-BCE3CBE1EE86}"/>
              </a:ext>
            </a:extLst>
          </p:cNvPr>
          <p:cNvCxnSpPr>
            <a:cxnSpLocks/>
          </p:cNvCxnSpPr>
          <p:nvPr/>
        </p:nvCxnSpPr>
        <p:spPr bwMode="auto">
          <a:xfrm>
            <a:off x="9001577" y="1781921"/>
            <a:ext cx="0" cy="355473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 descr="Horizontal row divider line">
            <a:extLst>
              <a:ext uri="{FF2B5EF4-FFF2-40B4-BE49-F238E27FC236}">
                <a16:creationId xmlns:a16="http://schemas.microsoft.com/office/drawing/2014/main" id="{CD89508C-671F-B527-A7DF-60DB7225F2A6}"/>
              </a:ext>
            </a:extLst>
          </p:cNvPr>
          <p:cNvCxnSpPr>
            <a:cxnSpLocks/>
          </p:cNvCxnSpPr>
          <p:nvPr/>
        </p:nvCxnSpPr>
        <p:spPr bwMode="auto">
          <a:xfrm>
            <a:off x="493042" y="2680391"/>
            <a:ext cx="247459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 descr="Horizontal row divider line">
            <a:extLst>
              <a:ext uri="{FF2B5EF4-FFF2-40B4-BE49-F238E27FC236}">
                <a16:creationId xmlns:a16="http://schemas.microsoft.com/office/drawing/2014/main" id="{C773E3EE-6616-2D58-4D27-4E7C40F9D32A}"/>
              </a:ext>
            </a:extLst>
          </p:cNvPr>
          <p:cNvCxnSpPr>
            <a:cxnSpLocks/>
          </p:cNvCxnSpPr>
          <p:nvPr/>
        </p:nvCxnSpPr>
        <p:spPr bwMode="auto">
          <a:xfrm>
            <a:off x="3397969" y="2680391"/>
            <a:ext cx="247459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 descr="Horizontal row divider line">
            <a:extLst>
              <a:ext uri="{FF2B5EF4-FFF2-40B4-BE49-F238E27FC236}">
                <a16:creationId xmlns:a16="http://schemas.microsoft.com/office/drawing/2014/main" id="{C4312FB7-F588-DAC0-A0D9-0806ED92914C}"/>
              </a:ext>
            </a:extLst>
          </p:cNvPr>
          <p:cNvCxnSpPr>
            <a:cxnSpLocks/>
          </p:cNvCxnSpPr>
          <p:nvPr/>
        </p:nvCxnSpPr>
        <p:spPr bwMode="auto">
          <a:xfrm>
            <a:off x="6218423" y="2680391"/>
            <a:ext cx="247459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 descr="Horizontal row divider line">
            <a:extLst>
              <a:ext uri="{FF2B5EF4-FFF2-40B4-BE49-F238E27FC236}">
                <a16:creationId xmlns:a16="http://schemas.microsoft.com/office/drawing/2014/main" id="{64D351E6-59EA-12DF-5F1F-BC61EE03DBC6}"/>
              </a:ext>
            </a:extLst>
          </p:cNvPr>
          <p:cNvCxnSpPr>
            <a:cxnSpLocks/>
          </p:cNvCxnSpPr>
          <p:nvPr/>
        </p:nvCxnSpPr>
        <p:spPr bwMode="auto">
          <a:xfrm>
            <a:off x="9166867" y="2680391"/>
            <a:ext cx="247459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itle 2">
            <a:extLst>
              <a:ext uri="{FF2B5EF4-FFF2-40B4-BE49-F238E27FC236}">
                <a16:creationId xmlns:a16="http://schemas.microsoft.com/office/drawing/2014/main" id="{F813D598-0695-6029-715C-F4E3823057A4}"/>
              </a:ext>
            </a:extLst>
          </p:cNvPr>
          <p:cNvSpPr txBox="1">
            <a:spLocks/>
          </p:cNvSpPr>
          <p:nvPr/>
        </p:nvSpPr>
        <p:spPr>
          <a:xfrm>
            <a:off x="304653" y="615305"/>
            <a:ext cx="11135812" cy="5474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18125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36250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54375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725002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rPr>
              <a:t>IBM POV: Four core principles to tailor generative AI for enterprise</a:t>
            </a:r>
          </a:p>
        </p:txBody>
      </p:sp>
    </p:spTree>
    <p:extLst>
      <p:ext uri="{BB962C8B-B14F-4D97-AF65-F5344CB8AC3E}">
        <p14:creationId xmlns:p14="http://schemas.microsoft.com/office/powerpoint/2010/main" val="179498120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5514D8-BA5E-E69D-6F17-A0138AF361BB}"/>
              </a:ext>
            </a:extLst>
          </p:cNvPr>
          <p:cNvSpPr/>
          <p:nvPr/>
        </p:nvSpPr>
        <p:spPr>
          <a:xfrm>
            <a:off x="9150000" y="1"/>
            <a:ext cx="3042000" cy="369332"/>
          </a:xfrm>
          <a:prstGeom prst="rect">
            <a:avLst/>
          </a:prstGeom>
          <a:solidFill>
            <a:srgbClr val="F4F4F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45720" rIns="45720" bIns="45720" numCol="1" spcCol="38100" rtlCol="0" anchor="t">
            <a:spAutoFit/>
          </a:bodyPr>
          <a:lstStyle/>
          <a:p>
            <a:pPr marL="0" marR="0" lvl="0" indent="0" algn="l" defTabSz="9146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10693833-BE62-BF1B-1B30-352B4ED257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24"/>
          <a:stretch/>
        </p:blipFill>
        <p:spPr>
          <a:xfrm>
            <a:off x="-74296" y="-182880"/>
            <a:ext cx="9238415" cy="8022431"/>
          </a:xfrm>
          <a:prstGeom prst="rect">
            <a:avLst/>
          </a:prstGeom>
        </p:spPr>
      </p:pic>
      <p:sp>
        <p:nvSpPr>
          <p:cNvPr id="574" name="Title 1"/>
          <p:cNvSpPr txBox="1">
            <a:spLocks noGrp="1"/>
          </p:cNvSpPr>
          <p:nvPr>
            <p:ph type="title"/>
          </p:nvPr>
        </p:nvSpPr>
        <p:spPr>
          <a:xfrm>
            <a:off x="288037" y="247213"/>
            <a:ext cx="8128601" cy="41293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lnSpc>
                <a:spcPct val="100000"/>
              </a:lnSpc>
              <a:defRPr sz="3600"/>
            </a:pPr>
            <a:r>
              <a:rPr sz="2400" dirty="0"/>
              <a:t>IBM watsonx.ai </a:t>
            </a:r>
            <a:r>
              <a:rPr lang="pt-BR" sz="2400" dirty="0"/>
              <a:t>architecture</a:t>
            </a:r>
            <a:endParaRPr sz="2400" dirty="0"/>
          </a:p>
        </p:txBody>
      </p:sp>
      <p:sp>
        <p:nvSpPr>
          <p:cNvPr id="575" name="Slide Number Placeholder 3"/>
          <p:cNvSpPr txBox="1">
            <a:spLocks noGrp="1"/>
          </p:cNvSpPr>
          <p:nvPr>
            <p:ph type="sldNum" sz="quarter" idx="2"/>
          </p:nvPr>
        </p:nvSpPr>
        <p:spPr>
          <a:xfrm>
            <a:off x="11784424" y="6469419"/>
            <a:ext cx="121828" cy="12311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pPr marL="0" marR="0" lvl="0" indent="0" algn="r" defTabSz="9146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/>
                <a:sym typeface="IBM Plex Sans"/>
              </a:rPr>
              <a:pPr marL="0" marR="0" lvl="0" indent="0" algn="r" defTabSz="914666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/>
              <a:sym typeface="IBM Plex San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6C72F3E-26C5-20B4-E278-16DA996CC145}"/>
              </a:ext>
            </a:extLst>
          </p:cNvPr>
          <p:cNvSpPr txBox="1"/>
          <p:nvPr/>
        </p:nvSpPr>
        <p:spPr>
          <a:xfrm>
            <a:off x="9598819" y="904643"/>
            <a:ext cx="2593181" cy="16830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Common core services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</a:b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Collaborative projects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Deployment spaces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Jobs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Notifications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Common connectivity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Access and Authentication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Resource management</a:t>
            </a:r>
          </a:p>
          <a:p>
            <a:pPr marL="171446" marR="0" lvl="0" indent="-171446" algn="l" defTabSz="121917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System Font Regular"/>
              <a:buChar char="–"/>
              <a:tabLst/>
              <a:defRPr sz="2800">
                <a:solidFill>
                  <a:srgbClr val="000000"/>
                </a:solidFill>
              </a:defRPr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t>Central asset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351653308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y04hVQVGN03fNAEUZvg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10.xml><?xml version="1.0" encoding="utf-8"?>
<a:theme xmlns:a="http://schemas.openxmlformats.org/drawingml/2006/main" name="3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11.xml><?xml version="1.0" encoding="utf-8"?>
<a:theme xmlns:a="http://schemas.openxmlformats.org/drawingml/2006/main" name="10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12.xml><?xml version="1.0" encoding="utf-8"?>
<a:theme xmlns:a="http://schemas.openxmlformats.org/drawingml/2006/main" name="8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Lockheed Martin_IBM Foundation Model Approach" id="{7179D73F-C785-DF4A-BF8E-4F2BD9D9345E}" vid="{085E00EC-6FEB-EE4D-B050-7816B882D05D}"/>
    </a:ext>
  </a:extLst>
</a:theme>
</file>

<file path=ppt/theme/theme13.xml><?xml version="1.0" encoding="utf-8"?>
<a:theme xmlns:a="http://schemas.openxmlformats.org/drawingml/2006/main" name="3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14.xml><?xml version="1.0" encoding="utf-8"?>
<a:theme xmlns:a="http://schemas.openxmlformats.org/drawingml/2006/main" name="5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Presentation2" id="{FE2FBE44-AEDF-354E-9251-C0275373CBEB}" vid="{1059D1B9-E4DB-E649-BF6A-C6990F8F2C0B}"/>
    </a:ext>
  </a:extLst>
</a:theme>
</file>

<file path=ppt/theme/theme15.xml><?xml version="1.0" encoding="utf-8"?>
<a:theme xmlns:a="http://schemas.openxmlformats.org/drawingml/2006/main" name="IBM presentation enablement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327600" marR="0" indent="-3276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algn="l" defTabSz="2438400">
          <a:buSzPct val="100000"/>
          <a:defRPr sz="2400" dirty="0" smtClean="0">
            <a:cs typeface="Arial" panose="020B0604020202020204" pitchFamily="34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16.xml><?xml version="1.0" encoding="utf-8"?>
<a:theme xmlns:a="http://schemas.openxmlformats.org/drawingml/2006/main" name="1_IBM presentation enablement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327600" marR="0" indent="-3276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algn="l" defTabSz="2438400">
          <a:buSzPct val="100000"/>
          <a:defRPr sz="2400" dirty="0" smtClean="0">
            <a:cs typeface="Arial" panose="020B0604020202020204" pitchFamily="34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17.xml><?xml version="1.0" encoding="utf-8"?>
<a:theme xmlns:a="http://schemas.openxmlformats.org/drawingml/2006/main" name="IBM Brand Template 2022 (Microgrid)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Template_2022_Plex_v12" id="{74E459BE-ED66-804A-8662-910104196D28}" vid="{16362FD8-CCFE-7F47-A3C6-77FA7D7D1C94}"/>
    </a:ext>
  </a:extLst>
</a:theme>
</file>

<file path=ppt/theme/theme18.xml><?xml version="1.0" encoding="utf-8"?>
<a:theme xmlns:a="http://schemas.openxmlformats.org/drawingml/2006/main" name="2_IBM TechXchange 2023">
  <a:themeElements>
    <a:clrScheme name="IBM TX">
      <a:dk1>
        <a:srgbClr val="FFFFFF"/>
      </a:dk1>
      <a:lt1>
        <a:srgbClr val="000000"/>
      </a:lt1>
      <a:dk2>
        <a:srgbClr val="E5F6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22" id="{E1E19202-B987-A941-8674-AD434A0DB71A}" vid="{5A1E2B54-7A0A-184D-A70D-E2100781CE9A}"/>
    </a:ext>
  </a:extLst>
</a:theme>
</file>

<file path=ppt/theme/theme19.xml><?xml version="1.0" encoding="utf-8"?>
<a:theme xmlns:a="http://schemas.openxmlformats.org/drawingml/2006/main" name="5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2.xml><?xml version="1.0" encoding="utf-8"?>
<a:theme xmlns:a="http://schemas.openxmlformats.org/drawingml/2006/main" name="1_IBM presentation template">
  <a:themeElements>
    <a:clrScheme name="Custom 2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6FA0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3D9971FF-72A8-9148-8FCE-63C601F84E0B}" vid="{815BE41E-3728-ED49-BBAF-A79881252BC7}"/>
    </a:ext>
  </a:extLst>
</a:theme>
</file>

<file path=ppt/theme/theme20.xml><?xml version="1.0" encoding="utf-8"?>
<a:theme xmlns:a="http://schemas.openxmlformats.org/drawingml/2006/main" name="8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1" id="{126BB10F-E6A9-294F-99AE-0FAC7402F272}" vid="{381CB0D7-7113-244A-AAB5-85037F6E70CA}"/>
    </a:ext>
  </a:extLst>
</a:theme>
</file>

<file path=ppt/theme/theme21.xml><?xml version="1.0" encoding="utf-8"?>
<a:theme xmlns:a="http://schemas.openxmlformats.org/drawingml/2006/main" name="2_IBM presentation enablement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327600" marR="0" indent="-3276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algn="l" defTabSz="2438400">
          <a:buSzPct val="100000"/>
          <a:defRPr sz="2400" dirty="0" smtClean="0">
            <a:cs typeface="Arial" panose="020B0604020202020204" pitchFamily="34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22.xml><?xml version="1.0" encoding="utf-8"?>
<a:theme xmlns:a="http://schemas.openxmlformats.org/drawingml/2006/main" name="4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23.xml><?xml version="1.0" encoding="utf-8"?>
<a:theme xmlns:a="http://schemas.openxmlformats.org/drawingml/2006/main" name="2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24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5.xml><?xml version="1.0" encoding="utf-8"?>
<a:theme xmlns:a="http://schemas.openxmlformats.org/drawingml/2006/main" name="13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none" lIns="91440" tIns="91440" rIns="91440" bIns="91440" rtlCol="0">
        <a:spAutoFit/>
      </a:bodyPr>
      <a:lstStyle>
        <a:defPPr algn="l"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ChatBot GPT Workstreams 2,22,23V10[10]  -  Read-Only" id="{56D97ADD-A413-1043-84CD-DFA8943B4471}" vid="{9404038C-DC95-0447-9DC9-39690C9B45FB}"/>
    </a:ext>
  </a:extLst>
</a:theme>
</file>

<file path=ppt/theme/theme26.xml><?xml version="1.0" encoding="utf-8"?>
<a:theme xmlns:a="http://schemas.openxmlformats.org/drawingml/2006/main" name="6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27.xml><?xml version="1.0" encoding="utf-8"?>
<a:theme xmlns:a="http://schemas.openxmlformats.org/drawingml/2006/main" name="13_IBM presentation template">
  <a:themeElements>
    <a:clrScheme name="IBM presentation template">
      <a:dk1>
        <a:srgbClr val="FFFFFF"/>
      </a:dk1>
      <a:lt1>
        <a:srgbClr val="FFFFFF"/>
      </a:lt1>
      <a:dk2>
        <a:srgbClr val="A7A7A7"/>
      </a:dk2>
      <a:lt2>
        <a:srgbClr val="535353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000FF"/>
      </a:hlink>
      <a:folHlink>
        <a:srgbClr val="FF00FF"/>
      </a:folHlink>
    </a:clrScheme>
    <a:fontScheme name="IBM presentation template">
      <a:majorFont>
        <a:latin typeface="Helvetica"/>
        <a:ea typeface="Helvetica"/>
        <a:cs typeface="Helvetica"/>
      </a:majorFont>
      <a:minorFont>
        <a:latin typeface="IBM Plex Sans Light"/>
        <a:ea typeface="IBM Plex Sans Light"/>
        <a:cs typeface="IBM Plex Sans Light"/>
      </a:minorFont>
    </a:fontScheme>
    <a:fmtScheme name="IBM presentation templa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9379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IBM Plex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1829379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IBM Plex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4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4.xml><?xml version="1.0" encoding="utf-8"?>
<a:theme xmlns:a="http://schemas.openxmlformats.org/drawingml/2006/main" name="11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5.xml><?xml version="1.0" encoding="utf-8"?>
<a:theme xmlns:a="http://schemas.openxmlformats.org/drawingml/2006/main" name="7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6.xml><?xml version="1.0" encoding="utf-8"?>
<a:theme xmlns:a="http://schemas.openxmlformats.org/drawingml/2006/main" name="9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7.xml><?xml version="1.0" encoding="utf-8"?>
<a:theme xmlns:a="http://schemas.openxmlformats.org/drawingml/2006/main" name="2_IBM Brand Template 2022 (Microgrid)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22" id="{E1E19202-B987-A941-8674-AD434A0DB71A}" vid="{5A1E2B54-7A0A-184D-A70D-E2100781CE9A}"/>
    </a:ext>
  </a:extLst>
</a:theme>
</file>

<file path=ppt/theme/theme8.xml><?xml version="1.0" encoding="utf-8"?>
<a:theme xmlns:a="http://schemas.openxmlformats.org/drawingml/2006/main" name="IBM TechXchange 2023">
  <a:themeElements>
    <a:clrScheme name="IBM TX">
      <a:dk1>
        <a:srgbClr val="FFFFFF"/>
      </a:dk1>
      <a:lt1>
        <a:srgbClr val="000000"/>
      </a:lt1>
      <a:dk2>
        <a:srgbClr val="E5F6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22" id="{E1E19202-B987-A941-8674-AD434A0DB71A}" vid="{5A1E2B54-7A0A-184D-A70D-E2100781CE9A}"/>
    </a:ext>
  </a:extLst>
</a:theme>
</file>

<file path=ppt/theme/theme9.xml><?xml version="1.0" encoding="utf-8"?>
<a:theme xmlns:a="http://schemas.openxmlformats.org/drawingml/2006/main" name="1_IBM TechXchange 2023">
  <a:themeElements>
    <a:clrScheme name="IBM TX">
      <a:dk1>
        <a:srgbClr val="FFFFFF"/>
      </a:dk1>
      <a:lt1>
        <a:srgbClr val="000000"/>
      </a:lt1>
      <a:dk2>
        <a:srgbClr val="E5F6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TechXchange Speaker Powerpoint Presentation Template_July 19_1689806043962001I3gX" id="{0AB404A7-241E-674A-B1E5-FB2A57015ABC}" vid="{1FE2EAF4-0244-C548-9E51-D1EF965D104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47</TotalTime>
  <Words>1389</Words>
  <Application>Microsoft Macintosh PowerPoint</Application>
  <PresentationFormat>Widescreen</PresentationFormat>
  <Paragraphs>243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63" baseType="lpstr">
      <vt:lpstr>Aptos</vt:lpstr>
      <vt:lpstr>Arial</vt:lpstr>
      <vt:lpstr>Arial Regular</vt:lpstr>
      <vt:lpstr>Calibri</vt:lpstr>
      <vt:lpstr>Helvetica Neue Medium</vt:lpstr>
      <vt:lpstr>IBM Plex Sans</vt:lpstr>
      <vt:lpstr>IBM Plex Sans ExtLt</vt:lpstr>
      <vt:lpstr>IBM Plex Sans Light</vt:lpstr>
      <vt:lpstr>IBM Plex Sans Medm</vt:lpstr>
      <vt:lpstr>IBM Plex Sans Regular</vt:lpstr>
      <vt:lpstr>IBM Plex Sans SmBld</vt:lpstr>
      <vt:lpstr>IBMPlexSans-Light</vt:lpstr>
      <vt:lpstr>Segoe UI</vt:lpstr>
      <vt:lpstr>System Font Regular</vt:lpstr>
      <vt:lpstr>Times New Roman</vt:lpstr>
      <vt:lpstr>Trebuchet MS</vt:lpstr>
      <vt:lpstr>Wingdings</vt:lpstr>
      <vt:lpstr>IBM presentation template</vt:lpstr>
      <vt:lpstr>1_IBM presentation template</vt:lpstr>
      <vt:lpstr>14_IBM presentation template</vt:lpstr>
      <vt:lpstr>11_IBM presentation template</vt:lpstr>
      <vt:lpstr>7_IBM presentation template</vt:lpstr>
      <vt:lpstr>9_IBM presentation template</vt:lpstr>
      <vt:lpstr>2_IBM Brand Template 2022 (Microgrid)</vt:lpstr>
      <vt:lpstr>IBM TechXchange 2023</vt:lpstr>
      <vt:lpstr>1_IBM TechXchange 2023</vt:lpstr>
      <vt:lpstr>3_IBM Brand Template 2022</vt:lpstr>
      <vt:lpstr>10_IBM Brand Template 2022</vt:lpstr>
      <vt:lpstr>8_IBM Brand Template 2022</vt:lpstr>
      <vt:lpstr>3_IBM presentation template</vt:lpstr>
      <vt:lpstr>5_IBM Brand Template 2022</vt:lpstr>
      <vt:lpstr>IBM presentation enablement template</vt:lpstr>
      <vt:lpstr>1_IBM presentation enablement template</vt:lpstr>
      <vt:lpstr>IBM Brand Template 2022 (Microgrid)</vt:lpstr>
      <vt:lpstr>2_IBM TechXchange 2023</vt:lpstr>
      <vt:lpstr>5_IBM presentation template</vt:lpstr>
      <vt:lpstr>8_IBM presentation template</vt:lpstr>
      <vt:lpstr>2_IBM presentation enablement template</vt:lpstr>
      <vt:lpstr>4_IBM presentation template</vt:lpstr>
      <vt:lpstr>2_IBM presentation template</vt:lpstr>
      <vt:lpstr>IBM Brand Template 2022</vt:lpstr>
      <vt:lpstr>13_IBM Brand Template 2022</vt:lpstr>
      <vt:lpstr>6_IBM presentation template</vt:lpstr>
      <vt:lpstr>13_IBM presentation template</vt:lpstr>
      <vt:lpstr>think-cell Slide</vt:lpstr>
      <vt:lpstr>PowerPoint Presentation</vt:lpstr>
      <vt:lpstr>Agenda</vt:lpstr>
      <vt:lpstr>The story of AI is a story of data representations</vt:lpstr>
      <vt:lpstr>Foundation model libraries</vt:lpstr>
      <vt:lpstr>Foundation models are … </vt:lpstr>
      <vt:lpstr>Foundation models: Generalizable and adaptable </vt:lpstr>
      <vt:lpstr>Foundation models: Generalizable and adaptable </vt:lpstr>
      <vt:lpstr>PowerPoint Presentation</vt:lpstr>
      <vt:lpstr>IBM watsonx.ai architecture</vt:lpstr>
      <vt:lpstr>watsonx.ai</vt:lpstr>
      <vt:lpstr>PowerPoint Presentation</vt:lpstr>
      <vt:lpstr>  </vt:lpstr>
      <vt:lpstr>Prompt Guidelines</vt:lpstr>
      <vt:lpstr>Take advantage of both traditional and Next-Gen AI Models in watsonx.ai </vt:lpstr>
      <vt:lpstr>PowerPoint Presentation</vt:lpstr>
      <vt:lpstr>PowerPoint Presentation</vt:lpstr>
      <vt:lpstr>PowerPoint Presentation</vt:lpstr>
      <vt:lpstr>Student Proc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LPA SRIKANTASWAMY</dc:creator>
  <cp:lastModifiedBy>Dhara Bagadia</cp:lastModifiedBy>
  <cp:revision>262</cp:revision>
  <dcterms:created xsi:type="dcterms:W3CDTF">2023-10-04T06:16:17Z</dcterms:created>
  <dcterms:modified xsi:type="dcterms:W3CDTF">2024-06-24T09:03:35Z</dcterms:modified>
</cp:coreProperties>
</file>